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1260" r:id="rId5"/>
    <p:sldId id="1190" r:id="rId6"/>
    <p:sldId id="1297" r:id="rId7"/>
    <p:sldId id="1225" r:id="rId8"/>
    <p:sldId id="1385" r:id="rId9"/>
    <p:sldId id="1274" r:id="rId10"/>
    <p:sldId id="1275" r:id="rId11"/>
    <p:sldId id="1276" r:id="rId12"/>
  </p:sldIdLst>
  <p:sldSz cx="24377650" cy="13716000"/>
  <p:notesSz cx="6858000" cy="9144000"/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A47864"/>
    <a:srgbClr val="445469"/>
    <a:srgbClr val="FBB62B"/>
    <a:srgbClr val="364D65"/>
    <a:srgbClr val="19232E"/>
    <a:srgbClr val="2F2F2F"/>
    <a:srgbClr val="FBC81F"/>
    <a:srgbClr val="2C4054"/>
    <a:srgbClr val="FADF35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755AFF-CF49-4BCA-84D2-B150D27833E7}" v="11105" dt="2024-12-13T18:45:38.902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65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Lato Light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Lato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4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Lato Light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Lato Light"/>
              </a:defRPr>
            </a:lvl1pPr>
          </a:lstStyle>
          <a:p>
            <a:fld id="{006BE02D-20C0-F840-AFAC-BEA99C74FD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1pPr>
    <a:lvl2pPr marL="914217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2pPr>
    <a:lvl3pPr marL="1828434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3pPr>
    <a:lvl4pPr marL="2742651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4pPr>
    <a:lvl5pPr marL="3656868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023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718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136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014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79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vi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675648" cy="13716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91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dership sk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682362" y="3945706"/>
            <a:ext cx="2935224" cy="29351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2300" b="0" i="0"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89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ter-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3764079" y="0"/>
            <a:ext cx="10613571" cy="137159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06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_devices of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820937" y="12623180"/>
            <a:ext cx="12690088" cy="6913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3936717" y="3247697"/>
            <a:ext cx="7241628" cy="12875172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26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7352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_devices of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820937" y="12623180"/>
            <a:ext cx="12690088" cy="6913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9253205" y="6230198"/>
            <a:ext cx="5756336" cy="102067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26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43604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730082" y="4665515"/>
            <a:ext cx="2935224" cy="29351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2300" b="0" i="0"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3403702" y="4665515"/>
            <a:ext cx="2935224" cy="29351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2300" b="0" i="0"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008742" y="4665515"/>
            <a:ext cx="2935224" cy="29351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2300" b="0" i="0"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682362" y="4665515"/>
            <a:ext cx="2935224" cy="2935154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2300" b="0" i="0"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981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act Us-Boo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1431917" y="153884"/>
            <a:ext cx="11724934" cy="13428667"/>
          </a:xfrm>
          <a:custGeom>
            <a:avLst/>
            <a:gdLst>
              <a:gd name="connsiteX0" fmla="*/ 8955694 w 11724934"/>
              <a:gd name="connsiteY0" fmla="*/ 2976334 h 13428667"/>
              <a:gd name="connsiteX1" fmla="*/ 3330999 w 11724934"/>
              <a:gd name="connsiteY1" fmla="*/ 12125956 h 13428667"/>
              <a:gd name="connsiteX2" fmla="*/ 3074428 w 11724934"/>
              <a:gd name="connsiteY2" fmla="*/ 11690634 h 13428667"/>
              <a:gd name="connsiteX3" fmla="*/ 8133670 w 11724934"/>
              <a:gd name="connsiteY3" fmla="*/ 3460824 h 13428667"/>
              <a:gd name="connsiteX4" fmla="*/ 6613112 w 11724934"/>
              <a:gd name="connsiteY4" fmla="*/ 2045671 h 13428667"/>
              <a:gd name="connsiteX5" fmla="*/ 988418 w 11724934"/>
              <a:gd name="connsiteY5" fmla="*/ 11195294 h 13428667"/>
              <a:gd name="connsiteX6" fmla="*/ 731845 w 11724934"/>
              <a:gd name="connsiteY6" fmla="*/ 10759973 h 13428667"/>
              <a:gd name="connsiteX7" fmla="*/ 5791089 w 11724934"/>
              <a:gd name="connsiteY7" fmla="*/ 2530161 h 13428667"/>
              <a:gd name="connsiteX8" fmla="*/ 10347090 w 11724934"/>
              <a:gd name="connsiteY8" fmla="*/ 1955479 h 13428667"/>
              <a:gd name="connsiteX9" fmla="*/ 3290281 w 11724934"/>
              <a:gd name="connsiteY9" fmla="*/ 13428667 h 13428667"/>
              <a:gd name="connsiteX10" fmla="*/ 2991235 w 11724934"/>
              <a:gd name="connsiteY10" fmla="*/ 12921283 h 13428667"/>
              <a:gd name="connsiteX11" fmla="*/ 9388443 w 11724934"/>
              <a:gd name="connsiteY11" fmla="*/ 2520493 h 13428667"/>
              <a:gd name="connsiteX12" fmla="*/ 9016568 w 11724934"/>
              <a:gd name="connsiteY12" fmla="*/ 1717422 h 13428667"/>
              <a:gd name="connsiteX13" fmla="*/ 3391873 w 11724934"/>
              <a:gd name="connsiteY13" fmla="*/ 10867044 h 13428667"/>
              <a:gd name="connsiteX14" fmla="*/ 3135302 w 11724934"/>
              <a:gd name="connsiteY14" fmla="*/ 10431723 h 13428667"/>
              <a:gd name="connsiteX15" fmla="*/ 8194543 w 11724934"/>
              <a:gd name="connsiteY15" fmla="*/ 2201912 h 13428667"/>
              <a:gd name="connsiteX16" fmla="*/ 8004509 w 11724934"/>
              <a:gd name="connsiteY16" fmla="*/ 1024816 h 13428667"/>
              <a:gd name="connsiteX17" fmla="*/ 947699 w 11724934"/>
              <a:gd name="connsiteY17" fmla="*/ 12498007 h 13428667"/>
              <a:gd name="connsiteX18" fmla="*/ 648653 w 11724934"/>
              <a:gd name="connsiteY18" fmla="*/ 11990622 h 13428667"/>
              <a:gd name="connsiteX19" fmla="*/ 7045862 w 11724934"/>
              <a:gd name="connsiteY19" fmla="*/ 1589830 h 13428667"/>
              <a:gd name="connsiteX20" fmla="*/ 11724934 w 11724934"/>
              <a:gd name="connsiteY20" fmla="*/ 930662 h 13428667"/>
              <a:gd name="connsiteX21" fmla="*/ 4668125 w 11724934"/>
              <a:gd name="connsiteY21" fmla="*/ 12403851 h 13428667"/>
              <a:gd name="connsiteX22" fmla="*/ 4369080 w 11724934"/>
              <a:gd name="connsiteY22" fmla="*/ 11896466 h 13428667"/>
              <a:gd name="connsiteX23" fmla="*/ 10766288 w 11724934"/>
              <a:gd name="connsiteY23" fmla="*/ 1495676 h 13428667"/>
              <a:gd name="connsiteX24" fmla="*/ 6673985 w 11724934"/>
              <a:gd name="connsiteY24" fmla="*/ 786761 h 13428667"/>
              <a:gd name="connsiteX25" fmla="*/ 1049293 w 11724934"/>
              <a:gd name="connsiteY25" fmla="*/ 9936384 h 13428667"/>
              <a:gd name="connsiteX26" fmla="*/ 792719 w 11724934"/>
              <a:gd name="connsiteY26" fmla="*/ 9501062 h 13428667"/>
              <a:gd name="connsiteX27" fmla="*/ 5851961 w 11724934"/>
              <a:gd name="connsiteY27" fmla="*/ 1271251 h 13428667"/>
              <a:gd name="connsiteX28" fmla="*/ 6440843 w 11724934"/>
              <a:gd name="connsiteY28" fmla="*/ 94156 h 13428667"/>
              <a:gd name="connsiteX29" fmla="*/ 278218 w 11724934"/>
              <a:gd name="connsiteY29" fmla="*/ 10053030 h 13428667"/>
              <a:gd name="connsiteX30" fmla="*/ 0 w 11724934"/>
              <a:gd name="connsiteY30" fmla="*/ 9580984 h 13428667"/>
              <a:gd name="connsiteX31" fmla="*/ 5543097 w 11724934"/>
              <a:gd name="connsiteY31" fmla="*/ 623276 h 13428667"/>
              <a:gd name="connsiteX32" fmla="*/ 9382354 w 11724934"/>
              <a:gd name="connsiteY32" fmla="*/ 0 h 13428667"/>
              <a:gd name="connsiteX33" fmla="*/ 2325545 w 11724934"/>
              <a:gd name="connsiteY33" fmla="*/ 11473190 h 13428667"/>
              <a:gd name="connsiteX34" fmla="*/ 2026498 w 11724934"/>
              <a:gd name="connsiteY34" fmla="*/ 10965805 h 13428667"/>
              <a:gd name="connsiteX35" fmla="*/ 8423706 w 11724934"/>
              <a:gd name="connsiteY35" fmla="*/ 565013 h 13428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1724934" h="13428667">
                <a:moveTo>
                  <a:pt x="8955694" y="2976334"/>
                </a:moveTo>
                <a:lnTo>
                  <a:pt x="3330999" y="12125956"/>
                </a:lnTo>
                <a:lnTo>
                  <a:pt x="3074428" y="11690634"/>
                </a:lnTo>
                <a:lnTo>
                  <a:pt x="8133670" y="3460824"/>
                </a:lnTo>
                <a:close/>
                <a:moveTo>
                  <a:pt x="6613112" y="2045671"/>
                </a:moveTo>
                <a:lnTo>
                  <a:pt x="988418" y="11195294"/>
                </a:lnTo>
                <a:lnTo>
                  <a:pt x="731845" y="10759973"/>
                </a:lnTo>
                <a:lnTo>
                  <a:pt x="5791089" y="2530161"/>
                </a:lnTo>
                <a:close/>
                <a:moveTo>
                  <a:pt x="10347090" y="1955479"/>
                </a:moveTo>
                <a:lnTo>
                  <a:pt x="3290281" y="13428667"/>
                </a:lnTo>
                <a:lnTo>
                  <a:pt x="2991235" y="12921283"/>
                </a:lnTo>
                <a:lnTo>
                  <a:pt x="9388443" y="2520493"/>
                </a:lnTo>
                <a:close/>
                <a:moveTo>
                  <a:pt x="9016568" y="1717422"/>
                </a:moveTo>
                <a:lnTo>
                  <a:pt x="3391873" y="10867044"/>
                </a:lnTo>
                <a:lnTo>
                  <a:pt x="3135302" y="10431723"/>
                </a:lnTo>
                <a:lnTo>
                  <a:pt x="8194543" y="2201912"/>
                </a:lnTo>
                <a:close/>
                <a:moveTo>
                  <a:pt x="8004509" y="1024816"/>
                </a:moveTo>
                <a:lnTo>
                  <a:pt x="947699" y="12498007"/>
                </a:lnTo>
                <a:lnTo>
                  <a:pt x="648653" y="11990622"/>
                </a:lnTo>
                <a:lnTo>
                  <a:pt x="7045862" y="1589830"/>
                </a:lnTo>
                <a:close/>
                <a:moveTo>
                  <a:pt x="11724934" y="930662"/>
                </a:moveTo>
                <a:lnTo>
                  <a:pt x="4668125" y="12403851"/>
                </a:lnTo>
                <a:lnTo>
                  <a:pt x="4369080" y="11896466"/>
                </a:lnTo>
                <a:lnTo>
                  <a:pt x="10766288" y="1495676"/>
                </a:lnTo>
                <a:close/>
                <a:moveTo>
                  <a:pt x="6673985" y="786761"/>
                </a:moveTo>
                <a:lnTo>
                  <a:pt x="1049293" y="9936384"/>
                </a:lnTo>
                <a:lnTo>
                  <a:pt x="792719" y="9501062"/>
                </a:lnTo>
                <a:lnTo>
                  <a:pt x="5851961" y="1271251"/>
                </a:lnTo>
                <a:close/>
                <a:moveTo>
                  <a:pt x="6440843" y="94156"/>
                </a:moveTo>
                <a:lnTo>
                  <a:pt x="278218" y="10053030"/>
                </a:lnTo>
                <a:lnTo>
                  <a:pt x="0" y="9580984"/>
                </a:lnTo>
                <a:lnTo>
                  <a:pt x="5543097" y="623276"/>
                </a:lnTo>
                <a:close/>
                <a:moveTo>
                  <a:pt x="9382354" y="0"/>
                </a:moveTo>
                <a:lnTo>
                  <a:pt x="2325545" y="11473190"/>
                </a:lnTo>
                <a:lnTo>
                  <a:pt x="2026498" y="10965805"/>
                </a:lnTo>
                <a:lnTo>
                  <a:pt x="8423706" y="56501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0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jects of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9440896" y="7125817"/>
            <a:ext cx="4936754" cy="4471451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26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4861918" y="7125817"/>
            <a:ext cx="4861942" cy="4471451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26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-1" y="7125817"/>
            <a:ext cx="4861942" cy="4471451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26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14582378" y="7125817"/>
            <a:ext cx="4861942" cy="4471451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26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9723860" y="7125817"/>
            <a:ext cx="4861942" cy="4471451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26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43051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785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675649" y="12533971"/>
            <a:ext cx="7069873" cy="10036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90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eti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6148104" y="3612994"/>
            <a:ext cx="5819852" cy="2795183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2409748" y="3612994"/>
            <a:ext cx="5819852" cy="2795183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9278926" y="3612994"/>
            <a:ext cx="5819852" cy="2795183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32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eti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5291434" y="3411210"/>
            <a:ext cx="7434751" cy="8016884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195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Mis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" y="4091685"/>
            <a:ext cx="12105684" cy="6769604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8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77649" cy="13715999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8675649" y="12511668"/>
            <a:ext cx="7225990" cy="9367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2209415" y="0"/>
            <a:ext cx="12168235" cy="1371600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29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675649" y="12511668"/>
            <a:ext cx="7225990" cy="9367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68235" cy="1371600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5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675649" y="12511668"/>
            <a:ext cx="7225990" cy="9367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69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E5A7120-8C15-28B9-5AA6-7D6394700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3168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8" imgH="408" progId="TCLayout.ActiveDocument.1">
                  <p:embed/>
                </p:oleObj>
              </mc:Choice>
              <mc:Fallback>
                <p:oleObj name="think-cell Slide" r:id="rId21" imgW="408" imgH="4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5A7120-8C15-28B9-5AA6-7D6394700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5964" y="730259"/>
            <a:ext cx="21025723" cy="2651126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5964" y="12712709"/>
            <a:ext cx="5484971" cy="730250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>
              <a:defRPr sz="2400" b="1" i="0">
                <a:solidFill>
                  <a:schemeClr val="tx1">
                    <a:tint val="75000"/>
                  </a:schemeClr>
                </a:solidFill>
                <a:latin typeface="Lato Bold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5097" y="12712709"/>
            <a:ext cx="8227457" cy="730250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>
              <a:defRPr sz="2400" b="1" i="0">
                <a:solidFill>
                  <a:schemeClr val="tx1">
                    <a:tint val="75000"/>
                  </a:schemeClr>
                </a:solidFill>
                <a:latin typeface="Lato Bold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16715" y="12712709"/>
            <a:ext cx="5484971" cy="730250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r">
              <a:defRPr sz="2400" b="1" i="0">
                <a:solidFill>
                  <a:schemeClr val="tx1">
                    <a:tint val="75000"/>
                  </a:schemeClr>
                </a:solidFill>
                <a:latin typeface="Lato Bold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Oval 7"/>
          <p:cNvSpPr/>
          <p:nvPr userDrawn="1"/>
        </p:nvSpPr>
        <p:spPr>
          <a:xfrm>
            <a:off x="23069390" y="523001"/>
            <a:ext cx="859750" cy="859750"/>
          </a:xfrm>
          <a:prstGeom prst="ellipse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23109785" y="607069"/>
            <a:ext cx="807966" cy="615480"/>
          </a:xfrm>
          <a:prstGeom prst="rect">
            <a:avLst/>
          </a:prstGeom>
          <a:noFill/>
        </p:spPr>
        <p:txBody>
          <a:bodyPr wrap="none" lIns="182807" tIns="91404" rIns="182807" bIns="91404" rtlCol="0">
            <a:spAutoFit/>
          </a:bodyPr>
          <a:lstStyle/>
          <a:p>
            <a:pPr algn="ctr"/>
            <a:fld id="{260E2A6B-A809-4840-BF14-8648BC0BDF87}" type="slidenum">
              <a:rPr lang="id-ID" sz="2800" b="1" i="0" smtClean="0">
                <a:solidFill>
                  <a:schemeClr val="bg1"/>
                </a:solidFill>
                <a:latin typeface="Lato Bold" charset="0"/>
                <a:cs typeface="Lato Bold" charset="0"/>
              </a:rPr>
              <a:pPr algn="ctr"/>
              <a:t>‹#›</a:t>
            </a:fld>
            <a:endParaRPr lang="id-ID" sz="2800" b="1" i="0">
              <a:solidFill>
                <a:schemeClr val="bg1"/>
              </a:solidFill>
              <a:latin typeface="Lato Bold" charset="0"/>
              <a:cs typeface="Lato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84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845" r:id="rId2"/>
    <p:sldLayoutId id="2147483822" r:id="rId3"/>
    <p:sldLayoutId id="2147483823" r:id="rId4"/>
    <p:sldLayoutId id="2147483811" r:id="rId5"/>
    <p:sldLayoutId id="2147483812" r:id="rId6"/>
    <p:sldLayoutId id="2147483806" r:id="rId7"/>
    <p:sldLayoutId id="2147483808" r:id="rId8"/>
    <p:sldLayoutId id="2147483882" r:id="rId9"/>
    <p:sldLayoutId id="2147483844" r:id="rId10"/>
    <p:sldLayoutId id="2147483834" r:id="rId11"/>
    <p:sldLayoutId id="2147483840" r:id="rId12"/>
    <p:sldLayoutId id="2147483893" r:id="rId13"/>
    <p:sldLayoutId id="2147483894" r:id="rId14"/>
    <p:sldLayoutId id="2147483902" r:id="rId15"/>
    <p:sldLayoutId id="2147483922" r:id="rId16"/>
    <p:sldLayoutId id="2147483923" r:id="rId17"/>
    <p:sldLayoutId id="2147483924" r:id="rId18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  <p:txStyles>
    <p:titleStyle>
      <a:lvl1pPr algn="l" defTabSz="1828434" rtl="0" eaLnBrk="1" latinLnBrk="0" hangingPunct="1">
        <a:lnSpc>
          <a:spcPct val="90000"/>
        </a:lnSpc>
        <a:spcBef>
          <a:spcPct val="0"/>
        </a:spcBef>
        <a:buNone/>
        <a:defRPr lang="en-US" sz="6000" kern="1200">
          <a:solidFill>
            <a:schemeClr val="tx1"/>
          </a:solidFill>
          <a:latin typeface="Lato" panose="020F0502020204030203" pitchFamily="34" charset="0"/>
          <a:ea typeface="+mj-ea"/>
          <a:cs typeface="+mj-cs"/>
        </a:defRPr>
      </a:lvl1pPr>
    </p:titleStyle>
    <p:bodyStyle>
      <a:lvl1pPr marL="457109" indent="-457109" algn="l" defTabSz="1828434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lang="en-US" sz="4800" kern="1200" dirty="0" smtClean="0">
          <a:solidFill>
            <a:schemeClr val="tx1"/>
          </a:solidFill>
          <a:effectLst/>
          <a:latin typeface="Lato" panose="020F0502020204030203" pitchFamily="34" charset="0"/>
          <a:ea typeface="+mn-ea"/>
          <a:cs typeface="+mn-cs"/>
        </a:defRPr>
      </a:lvl1pPr>
      <a:lvl2pPr marL="137132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4000" kern="1200" dirty="0" smtClean="0">
          <a:solidFill>
            <a:schemeClr val="tx1"/>
          </a:solidFill>
          <a:effectLst/>
          <a:latin typeface="Lato" panose="020F0502020204030203" pitchFamily="34" charset="0"/>
          <a:ea typeface="+mn-ea"/>
          <a:cs typeface="+mn-cs"/>
        </a:defRPr>
      </a:lvl2pPr>
      <a:lvl3pPr marL="2285543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600" kern="1200" dirty="0" smtClean="0">
          <a:solidFill>
            <a:schemeClr val="tx1"/>
          </a:solidFill>
          <a:effectLst/>
          <a:latin typeface="Lato" panose="020F0502020204030203" pitchFamily="34" charset="0"/>
          <a:ea typeface="+mn-ea"/>
          <a:cs typeface="+mn-cs"/>
        </a:defRPr>
      </a:lvl3pPr>
      <a:lvl4pPr marL="3199760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200" kern="1200" dirty="0" smtClean="0">
          <a:solidFill>
            <a:schemeClr val="tx1"/>
          </a:solidFill>
          <a:effectLst/>
          <a:latin typeface="Lato" panose="020F0502020204030203" pitchFamily="34" charset="0"/>
          <a:ea typeface="+mn-ea"/>
          <a:cs typeface="+mn-cs"/>
        </a:defRPr>
      </a:lvl4pPr>
      <a:lvl5pPr marL="4113977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200" kern="1200" dirty="0">
          <a:solidFill>
            <a:schemeClr val="tx1"/>
          </a:solidFill>
          <a:effectLst/>
          <a:latin typeface="Lato" panose="020F0502020204030203" pitchFamily="34" charset="0"/>
          <a:ea typeface="+mn-ea"/>
          <a:cs typeface="+mn-cs"/>
        </a:defRPr>
      </a:lvl5pPr>
      <a:lvl6pPr marL="5028194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411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8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4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1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8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sv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/>
          <p:cNvGrpSpPr/>
          <p:nvPr/>
        </p:nvGrpSpPr>
        <p:grpSpPr>
          <a:xfrm>
            <a:off x="12857897" y="7985254"/>
            <a:ext cx="5016271" cy="227062"/>
            <a:chOff x="6927228" y="7552706"/>
            <a:chExt cx="5016271" cy="227062"/>
          </a:xfrm>
        </p:grpSpPr>
        <p:sp>
          <p:nvSpPr>
            <p:cNvPr id="76" name="Oval 75"/>
            <p:cNvSpPr>
              <a:spLocks noChangeAspect="1"/>
            </p:cNvSpPr>
            <p:nvPr/>
          </p:nvSpPr>
          <p:spPr>
            <a:xfrm rot="18861538">
              <a:off x="6927228" y="771191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Oval 76"/>
            <p:cNvSpPr>
              <a:spLocks noChangeAspect="1"/>
            </p:cNvSpPr>
            <p:nvPr/>
          </p:nvSpPr>
          <p:spPr>
            <a:xfrm rot="18861538">
              <a:off x="7142741" y="7709503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Oval 77"/>
            <p:cNvSpPr>
              <a:spLocks noChangeAspect="1"/>
            </p:cNvSpPr>
            <p:nvPr/>
          </p:nvSpPr>
          <p:spPr>
            <a:xfrm rot="18861538">
              <a:off x="7358254" y="7707092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Oval 78"/>
            <p:cNvSpPr>
              <a:spLocks noChangeAspect="1"/>
            </p:cNvSpPr>
            <p:nvPr/>
          </p:nvSpPr>
          <p:spPr>
            <a:xfrm rot="18861538">
              <a:off x="7573766" y="7712631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Oval 79"/>
            <p:cNvSpPr>
              <a:spLocks noChangeAspect="1"/>
            </p:cNvSpPr>
            <p:nvPr/>
          </p:nvSpPr>
          <p:spPr>
            <a:xfrm rot="18861538">
              <a:off x="7789279" y="771022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Oval 80"/>
            <p:cNvSpPr>
              <a:spLocks noChangeAspect="1"/>
            </p:cNvSpPr>
            <p:nvPr/>
          </p:nvSpPr>
          <p:spPr>
            <a:xfrm rot="18861538">
              <a:off x="8004792" y="771576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Oval 81"/>
            <p:cNvSpPr>
              <a:spLocks noChangeAspect="1"/>
            </p:cNvSpPr>
            <p:nvPr/>
          </p:nvSpPr>
          <p:spPr>
            <a:xfrm rot="18861538">
              <a:off x="8220304" y="771334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Oval 82"/>
            <p:cNvSpPr>
              <a:spLocks noChangeAspect="1"/>
            </p:cNvSpPr>
            <p:nvPr/>
          </p:nvSpPr>
          <p:spPr>
            <a:xfrm rot="18861538">
              <a:off x="8435817" y="771093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Oval 83"/>
            <p:cNvSpPr>
              <a:spLocks noChangeAspect="1"/>
            </p:cNvSpPr>
            <p:nvPr/>
          </p:nvSpPr>
          <p:spPr>
            <a:xfrm rot="18861538">
              <a:off x="8651330" y="7708526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Oval 84"/>
            <p:cNvSpPr>
              <a:spLocks noChangeAspect="1"/>
            </p:cNvSpPr>
            <p:nvPr/>
          </p:nvSpPr>
          <p:spPr>
            <a:xfrm rot="18861538">
              <a:off x="8866842" y="7714065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Oval 85"/>
            <p:cNvSpPr>
              <a:spLocks noChangeAspect="1"/>
            </p:cNvSpPr>
            <p:nvPr/>
          </p:nvSpPr>
          <p:spPr>
            <a:xfrm rot="18861538">
              <a:off x="9082355" y="771165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Oval 86"/>
            <p:cNvSpPr>
              <a:spLocks noChangeAspect="1"/>
            </p:cNvSpPr>
            <p:nvPr/>
          </p:nvSpPr>
          <p:spPr>
            <a:xfrm rot="18861538">
              <a:off x="9297868" y="7709243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Oval 87"/>
            <p:cNvSpPr>
              <a:spLocks noChangeAspect="1"/>
            </p:cNvSpPr>
            <p:nvPr/>
          </p:nvSpPr>
          <p:spPr>
            <a:xfrm rot="18861538">
              <a:off x="6927228" y="755752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Oval 88"/>
            <p:cNvSpPr>
              <a:spLocks noChangeAspect="1"/>
            </p:cNvSpPr>
            <p:nvPr/>
          </p:nvSpPr>
          <p:spPr>
            <a:xfrm rot="18861538">
              <a:off x="7142741" y="755511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Oval 89"/>
            <p:cNvSpPr>
              <a:spLocks noChangeAspect="1"/>
            </p:cNvSpPr>
            <p:nvPr/>
          </p:nvSpPr>
          <p:spPr>
            <a:xfrm rot="18861538">
              <a:off x="7358254" y="7552706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Oval 90"/>
            <p:cNvSpPr>
              <a:spLocks noChangeAspect="1"/>
            </p:cNvSpPr>
            <p:nvPr/>
          </p:nvSpPr>
          <p:spPr>
            <a:xfrm rot="18861538">
              <a:off x="7573766" y="7558245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Oval 91"/>
            <p:cNvSpPr>
              <a:spLocks noChangeAspect="1"/>
            </p:cNvSpPr>
            <p:nvPr/>
          </p:nvSpPr>
          <p:spPr>
            <a:xfrm rot="18861538">
              <a:off x="7789279" y="755583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Oval 92"/>
            <p:cNvSpPr>
              <a:spLocks noChangeAspect="1"/>
            </p:cNvSpPr>
            <p:nvPr/>
          </p:nvSpPr>
          <p:spPr>
            <a:xfrm rot="18861538">
              <a:off x="8004792" y="756137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Oval 93"/>
            <p:cNvSpPr>
              <a:spLocks noChangeAspect="1"/>
            </p:cNvSpPr>
            <p:nvPr/>
          </p:nvSpPr>
          <p:spPr>
            <a:xfrm rot="18861538">
              <a:off x="8220304" y="7558962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Oval 94"/>
            <p:cNvSpPr>
              <a:spLocks noChangeAspect="1"/>
            </p:cNvSpPr>
            <p:nvPr/>
          </p:nvSpPr>
          <p:spPr>
            <a:xfrm rot="18861538">
              <a:off x="8435817" y="7556551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Oval 95"/>
            <p:cNvSpPr>
              <a:spLocks noChangeAspect="1"/>
            </p:cNvSpPr>
            <p:nvPr/>
          </p:nvSpPr>
          <p:spPr>
            <a:xfrm rot="18861538">
              <a:off x="8651330" y="755414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Oval 96"/>
            <p:cNvSpPr>
              <a:spLocks noChangeAspect="1"/>
            </p:cNvSpPr>
            <p:nvPr/>
          </p:nvSpPr>
          <p:spPr>
            <a:xfrm rot="18861538">
              <a:off x="8866842" y="7559679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Oval 97"/>
            <p:cNvSpPr>
              <a:spLocks noChangeAspect="1"/>
            </p:cNvSpPr>
            <p:nvPr/>
          </p:nvSpPr>
          <p:spPr>
            <a:xfrm rot="18861538">
              <a:off x="9082355" y="755726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Oval 98"/>
            <p:cNvSpPr>
              <a:spLocks noChangeAspect="1"/>
            </p:cNvSpPr>
            <p:nvPr/>
          </p:nvSpPr>
          <p:spPr>
            <a:xfrm rot="18861538">
              <a:off x="9297868" y="755485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Oval 99"/>
            <p:cNvSpPr>
              <a:spLocks noChangeAspect="1"/>
            </p:cNvSpPr>
            <p:nvPr/>
          </p:nvSpPr>
          <p:spPr>
            <a:xfrm rot="18861538">
              <a:off x="9508851" y="771191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Oval 100"/>
            <p:cNvSpPr>
              <a:spLocks noChangeAspect="1"/>
            </p:cNvSpPr>
            <p:nvPr/>
          </p:nvSpPr>
          <p:spPr>
            <a:xfrm rot="18861538">
              <a:off x="9724364" y="7709503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Oval 101"/>
            <p:cNvSpPr>
              <a:spLocks noChangeAspect="1"/>
            </p:cNvSpPr>
            <p:nvPr/>
          </p:nvSpPr>
          <p:spPr>
            <a:xfrm rot="18861538">
              <a:off x="9939877" y="7707092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Oval 102"/>
            <p:cNvSpPr>
              <a:spLocks noChangeAspect="1"/>
            </p:cNvSpPr>
            <p:nvPr/>
          </p:nvSpPr>
          <p:spPr>
            <a:xfrm rot="18861538">
              <a:off x="10155389" y="7712631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Oval 103"/>
            <p:cNvSpPr>
              <a:spLocks noChangeAspect="1"/>
            </p:cNvSpPr>
            <p:nvPr/>
          </p:nvSpPr>
          <p:spPr>
            <a:xfrm rot="18861538">
              <a:off x="10370902" y="771022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Oval 104"/>
            <p:cNvSpPr>
              <a:spLocks noChangeAspect="1"/>
            </p:cNvSpPr>
            <p:nvPr/>
          </p:nvSpPr>
          <p:spPr>
            <a:xfrm rot="18861538">
              <a:off x="10586415" y="771576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Oval 105"/>
            <p:cNvSpPr>
              <a:spLocks noChangeAspect="1"/>
            </p:cNvSpPr>
            <p:nvPr/>
          </p:nvSpPr>
          <p:spPr>
            <a:xfrm rot="18861538">
              <a:off x="10801927" y="771334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Oval 106"/>
            <p:cNvSpPr>
              <a:spLocks noChangeAspect="1"/>
            </p:cNvSpPr>
            <p:nvPr/>
          </p:nvSpPr>
          <p:spPr>
            <a:xfrm rot="18861538">
              <a:off x="11017440" y="771093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Oval 107"/>
            <p:cNvSpPr>
              <a:spLocks noChangeAspect="1"/>
            </p:cNvSpPr>
            <p:nvPr/>
          </p:nvSpPr>
          <p:spPr>
            <a:xfrm rot="18861538">
              <a:off x="11232953" y="7708526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Oval 108"/>
            <p:cNvSpPr>
              <a:spLocks noChangeAspect="1"/>
            </p:cNvSpPr>
            <p:nvPr/>
          </p:nvSpPr>
          <p:spPr>
            <a:xfrm rot="18861538">
              <a:off x="11448465" y="7714065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Oval 109"/>
            <p:cNvSpPr>
              <a:spLocks noChangeAspect="1"/>
            </p:cNvSpPr>
            <p:nvPr/>
          </p:nvSpPr>
          <p:spPr>
            <a:xfrm rot="18861538">
              <a:off x="11663978" y="771165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Oval 110"/>
            <p:cNvSpPr>
              <a:spLocks noChangeAspect="1"/>
            </p:cNvSpPr>
            <p:nvPr/>
          </p:nvSpPr>
          <p:spPr>
            <a:xfrm rot="18861538">
              <a:off x="11879491" y="7709243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Oval 111"/>
            <p:cNvSpPr>
              <a:spLocks noChangeAspect="1"/>
            </p:cNvSpPr>
            <p:nvPr/>
          </p:nvSpPr>
          <p:spPr>
            <a:xfrm rot="18861538">
              <a:off x="9508851" y="755752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Oval 112"/>
            <p:cNvSpPr>
              <a:spLocks noChangeAspect="1"/>
            </p:cNvSpPr>
            <p:nvPr/>
          </p:nvSpPr>
          <p:spPr>
            <a:xfrm rot="18861538">
              <a:off x="9724364" y="755511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Oval 113"/>
            <p:cNvSpPr>
              <a:spLocks noChangeAspect="1"/>
            </p:cNvSpPr>
            <p:nvPr/>
          </p:nvSpPr>
          <p:spPr>
            <a:xfrm rot="18861538">
              <a:off x="9939877" y="7552706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Oval 114"/>
            <p:cNvSpPr>
              <a:spLocks noChangeAspect="1"/>
            </p:cNvSpPr>
            <p:nvPr/>
          </p:nvSpPr>
          <p:spPr>
            <a:xfrm rot="18861538">
              <a:off x="10155389" y="7558245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Oval 115"/>
            <p:cNvSpPr>
              <a:spLocks noChangeAspect="1"/>
            </p:cNvSpPr>
            <p:nvPr/>
          </p:nvSpPr>
          <p:spPr>
            <a:xfrm rot="18861538">
              <a:off x="10370902" y="755583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Oval 116"/>
            <p:cNvSpPr>
              <a:spLocks noChangeAspect="1"/>
            </p:cNvSpPr>
            <p:nvPr/>
          </p:nvSpPr>
          <p:spPr>
            <a:xfrm rot="18861538">
              <a:off x="10586415" y="756137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Oval 117"/>
            <p:cNvSpPr>
              <a:spLocks noChangeAspect="1"/>
            </p:cNvSpPr>
            <p:nvPr/>
          </p:nvSpPr>
          <p:spPr>
            <a:xfrm rot="18861538">
              <a:off x="10801927" y="7558962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Oval 118"/>
            <p:cNvSpPr>
              <a:spLocks noChangeAspect="1"/>
            </p:cNvSpPr>
            <p:nvPr/>
          </p:nvSpPr>
          <p:spPr>
            <a:xfrm rot="18861538">
              <a:off x="11017440" y="7556551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Oval 119"/>
            <p:cNvSpPr>
              <a:spLocks noChangeAspect="1"/>
            </p:cNvSpPr>
            <p:nvPr/>
          </p:nvSpPr>
          <p:spPr>
            <a:xfrm rot="18861538">
              <a:off x="11232953" y="755414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Oval 120"/>
            <p:cNvSpPr>
              <a:spLocks noChangeAspect="1"/>
            </p:cNvSpPr>
            <p:nvPr/>
          </p:nvSpPr>
          <p:spPr>
            <a:xfrm rot="18861538">
              <a:off x="11448465" y="7559679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Oval 121"/>
            <p:cNvSpPr>
              <a:spLocks noChangeAspect="1"/>
            </p:cNvSpPr>
            <p:nvPr/>
          </p:nvSpPr>
          <p:spPr>
            <a:xfrm rot="18861538">
              <a:off x="11663978" y="755726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Oval 122"/>
            <p:cNvSpPr>
              <a:spLocks noChangeAspect="1"/>
            </p:cNvSpPr>
            <p:nvPr/>
          </p:nvSpPr>
          <p:spPr>
            <a:xfrm rot="18861538">
              <a:off x="11879491" y="755485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4" name="Subtitle 2"/>
          <p:cNvSpPr txBox="1">
            <a:spLocks/>
          </p:cNvSpPr>
          <p:nvPr/>
        </p:nvSpPr>
        <p:spPr>
          <a:xfrm>
            <a:off x="12591258" y="8858231"/>
            <a:ext cx="8229600" cy="2978382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sz="2800" b="1" dirty="0">
                <a:solidFill>
                  <a:schemeClr val="accent6"/>
                </a:solidFill>
                <a:latin typeface="Lato Bold" panose="020F0502020204030203"/>
                <a:ea typeface="Lato Light" charset="0"/>
                <a:cs typeface="Lato Light" charset="0"/>
              </a:rPr>
              <a:t>Luke Tam</a:t>
            </a:r>
          </a:p>
          <a:p>
            <a:pPr algn="l">
              <a:lnSpc>
                <a:spcPct val="150000"/>
              </a:lnSpc>
            </a:pPr>
            <a:endParaRPr lang="en-US" sz="2800" dirty="0">
              <a:solidFill>
                <a:schemeClr val="accent6"/>
              </a:solidFill>
              <a:latin typeface="Lato Light" charset="0"/>
              <a:ea typeface="Lato Light" charset="0"/>
              <a:cs typeface="Lato Light" charset="0"/>
            </a:endParaRPr>
          </a:p>
          <a:p>
            <a:pPr algn="l">
              <a:lnSpc>
                <a:spcPct val="150000"/>
              </a:lnSpc>
            </a:pPr>
            <a:r>
              <a:rPr lang="en-US" sz="2800" dirty="0">
                <a:solidFill>
                  <a:schemeClr val="accent6"/>
                </a:solidFill>
                <a:latin typeface="Lato Light" charset="0"/>
                <a:ea typeface="Lato Light" charset="0"/>
                <a:cs typeface="Lato Light" charset="0"/>
              </a:rPr>
              <a:t>OIM 7502</a:t>
            </a:r>
          </a:p>
          <a:p>
            <a:pPr algn="l">
              <a:lnSpc>
                <a:spcPct val="150000"/>
              </a:lnSpc>
            </a:pPr>
            <a:r>
              <a:rPr lang="en-US" sz="2800" dirty="0">
                <a:solidFill>
                  <a:schemeClr val="accent6"/>
                </a:solidFill>
                <a:latin typeface="Lato Light" charset="0"/>
                <a:ea typeface="Lato Light" charset="0"/>
                <a:cs typeface="Lato Light" charset="0"/>
              </a:rPr>
              <a:t>Advanced Programming for Business Analytic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BCC83D3-B891-A00D-F761-2F27D5EF2E19}"/>
              </a:ext>
            </a:extLst>
          </p:cNvPr>
          <p:cNvSpPr txBox="1"/>
          <p:nvPr/>
        </p:nvSpPr>
        <p:spPr>
          <a:xfrm>
            <a:off x="12723643" y="5070594"/>
            <a:ext cx="8172430" cy="2421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5400" b="1" dirty="0">
                <a:solidFill>
                  <a:schemeClr val="accent1"/>
                </a:solidFill>
                <a:latin typeface="Lato Black" charset="0"/>
                <a:ea typeface="Lato Black" charset="0"/>
                <a:cs typeface="Lato Black" charset="0"/>
              </a:rPr>
              <a:t>Python Library Overview:</a:t>
            </a:r>
          </a:p>
          <a:p>
            <a:pPr>
              <a:lnSpc>
                <a:spcPct val="150000"/>
              </a:lnSpc>
            </a:pPr>
            <a:r>
              <a:rPr lang="en-US" sz="5400" b="1" dirty="0">
                <a:solidFill>
                  <a:schemeClr val="accent4"/>
                </a:solidFill>
                <a:latin typeface="Lato Black" charset="0"/>
                <a:ea typeface="Lato Black" charset="0"/>
                <a:cs typeface="Lato Black" charset="0"/>
              </a:rPr>
              <a:t>Selenium</a:t>
            </a:r>
          </a:p>
        </p:txBody>
      </p:sp>
      <p:pic>
        <p:nvPicPr>
          <p:cNvPr id="49" name="Picture Placeholder 48">
            <a:extLst>
              <a:ext uri="{FF2B5EF4-FFF2-40B4-BE49-F238E27FC236}">
                <a16:creationId xmlns:a16="http://schemas.microsoft.com/office/drawing/2014/main" id="{B6723343-1C34-E39C-F010-EC53EAFC5A0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" t="76" r="41029" b="-76"/>
          <a:stretch/>
        </p:blipFill>
        <p:spPr>
          <a:xfrm>
            <a:off x="1431917" y="153884"/>
            <a:ext cx="11724934" cy="13428667"/>
          </a:xfrm>
        </p:spPr>
      </p:pic>
    </p:spTree>
    <p:extLst>
      <p:ext uri="{BB962C8B-B14F-4D97-AF65-F5344CB8AC3E}">
        <p14:creationId xmlns:p14="http://schemas.microsoft.com/office/powerpoint/2010/main" val="1836619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 2"/>
          <p:cNvSpPr txBox="1">
            <a:spLocks/>
          </p:cNvSpPr>
          <p:nvPr/>
        </p:nvSpPr>
        <p:spPr>
          <a:xfrm>
            <a:off x="3147465" y="9693099"/>
            <a:ext cx="8428136" cy="1254641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You can visually watch the automation process and troubleshoot issues as they happe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265036" y="9088587"/>
            <a:ext cx="657904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2"/>
                </a:solidFill>
                <a:latin typeface="Lato" charset="0"/>
                <a:ea typeface="Lato" charset="0"/>
                <a:cs typeface="Lato" charset="0"/>
              </a:rPr>
              <a:t>Direct Observation When Running Code</a:t>
            </a:r>
          </a:p>
        </p:txBody>
      </p:sp>
      <p:sp>
        <p:nvSpPr>
          <p:cNvPr id="19" name="Subtitle 2"/>
          <p:cNvSpPr txBox="1">
            <a:spLocks/>
          </p:cNvSpPr>
          <p:nvPr/>
        </p:nvSpPr>
        <p:spPr>
          <a:xfrm>
            <a:off x="14180170" y="9693099"/>
            <a:ext cx="8428136" cy="1254641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Unlike Beautiful Soup or Scrapy, which rely on static HTML, Selenium loads the full rendered page like a real us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4297741" y="9088587"/>
            <a:ext cx="7665881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6"/>
                </a:solidFill>
                <a:latin typeface="Lato" charset="0"/>
                <a:ea typeface="Lato" charset="0"/>
                <a:cs typeface="Lato" charset="0"/>
              </a:rPr>
              <a:t>Better Support for JavaScript-Driven Websites</a:t>
            </a:r>
          </a:p>
        </p:txBody>
      </p:sp>
      <p:sp>
        <p:nvSpPr>
          <p:cNvPr id="21" name="Subtitle 2"/>
          <p:cNvSpPr txBox="1">
            <a:spLocks/>
          </p:cNvSpPr>
          <p:nvPr/>
        </p:nvSpPr>
        <p:spPr>
          <a:xfrm>
            <a:off x="3205484" y="4673455"/>
            <a:ext cx="8428136" cy="1254641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Allows you to write Python code that opens and controls a web browser to perform automated task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323055" y="4068943"/>
            <a:ext cx="6538970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5"/>
                </a:solidFill>
                <a:latin typeface="Lato" charset="0"/>
                <a:ea typeface="Lato" charset="0"/>
                <a:cs typeface="Lato" charset="0"/>
              </a:rPr>
              <a:t>Python Library for Browser Automation</a:t>
            </a:r>
          </a:p>
        </p:txBody>
      </p:sp>
      <p:sp>
        <p:nvSpPr>
          <p:cNvPr id="28" name="Subtitle 2"/>
          <p:cNvSpPr txBox="1">
            <a:spLocks/>
          </p:cNvSpPr>
          <p:nvPr/>
        </p:nvSpPr>
        <p:spPr>
          <a:xfrm>
            <a:off x="14238189" y="4682117"/>
            <a:ext cx="8428136" cy="1254641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Used by developers to test whether buttons, forms, and features work correctl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355760" y="4077605"/>
            <a:ext cx="8462573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3"/>
                </a:solidFill>
                <a:latin typeface="Lato" charset="0"/>
                <a:ea typeface="Lato" charset="0"/>
                <a:cs typeface="Lato" charset="0"/>
              </a:rPr>
              <a:t>Originally Built for Automated Website Testing (QA)</a:t>
            </a:r>
          </a:p>
        </p:txBody>
      </p:sp>
      <p:sp>
        <p:nvSpPr>
          <p:cNvPr id="32" name="Subtitle 2"/>
          <p:cNvSpPr txBox="1">
            <a:spLocks/>
          </p:cNvSpPr>
          <p:nvPr/>
        </p:nvSpPr>
        <p:spPr>
          <a:xfrm>
            <a:off x="3205484" y="7144633"/>
            <a:ext cx="8428136" cy="1254641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Can click buttons, fill out forms, scroll pages, follow links, and interact with page element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323055" y="6540121"/>
            <a:ext cx="4873450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  <a:latin typeface="Lato" charset="0"/>
                <a:ea typeface="Lato" charset="0"/>
                <a:cs typeface="Lato" charset="0"/>
              </a:rPr>
              <a:t>Simulates Real User Behavior</a:t>
            </a:r>
          </a:p>
        </p:txBody>
      </p:sp>
      <p:sp>
        <p:nvSpPr>
          <p:cNvPr id="34" name="Subtitle 2"/>
          <p:cNvSpPr txBox="1">
            <a:spLocks/>
          </p:cNvSpPr>
          <p:nvPr/>
        </p:nvSpPr>
        <p:spPr>
          <a:xfrm>
            <a:off x="14238189" y="7144633"/>
            <a:ext cx="8428136" cy="1254641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Compatible with Chrome, Firefox, Edge, and others using browser driver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4355760" y="6540121"/>
            <a:ext cx="6277681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4"/>
                </a:solidFill>
                <a:latin typeface="Lato" charset="0"/>
                <a:ea typeface="Lato" charset="0"/>
                <a:cs typeface="Lato" charset="0"/>
              </a:rPr>
              <a:t>Works Across Browsers and Platforms</a:t>
            </a: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13055664" y="9220200"/>
            <a:ext cx="1027094" cy="102736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43" name="Oval 42"/>
          <p:cNvSpPr>
            <a:spLocks noChangeAspect="1"/>
          </p:cNvSpPr>
          <p:nvPr/>
        </p:nvSpPr>
        <p:spPr>
          <a:xfrm>
            <a:off x="13055664" y="4209486"/>
            <a:ext cx="1027094" cy="10273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45" name="Oval 44"/>
          <p:cNvSpPr>
            <a:spLocks noChangeAspect="1"/>
          </p:cNvSpPr>
          <p:nvPr/>
        </p:nvSpPr>
        <p:spPr>
          <a:xfrm>
            <a:off x="13055664" y="6697859"/>
            <a:ext cx="1027094" cy="10273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dirty="0"/>
          </a:p>
        </p:txBody>
      </p:sp>
      <p:sp>
        <p:nvSpPr>
          <p:cNvPr id="47" name="Oval 46"/>
          <p:cNvSpPr>
            <a:spLocks noChangeAspect="1"/>
          </p:cNvSpPr>
          <p:nvPr/>
        </p:nvSpPr>
        <p:spPr>
          <a:xfrm>
            <a:off x="2071586" y="9220200"/>
            <a:ext cx="1027094" cy="10273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49" name="Oval 48"/>
          <p:cNvSpPr>
            <a:spLocks noChangeAspect="1"/>
          </p:cNvSpPr>
          <p:nvPr/>
        </p:nvSpPr>
        <p:spPr>
          <a:xfrm>
            <a:off x="2071586" y="4209486"/>
            <a:ext cx="1027094" cy="102736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dirty="0"/>
          </a:p>
        </p:txBody>
      </p:sp>
      <p:sp>
        <p:nvSpPr>
          <p:cNvPr id="51" name="Oval 50"/>
          <p:cNvSpPr>
            <a:spLocks noChangeAspect="1"/>
          </p:cNvSpPr>
          <p:nvPr/>
        </p:nvSpPr>
        <p:spPr>
          <a:xfrm>
            <a:off x="2071586" y="6697859"/>
            <a:ext cx="1027094" cy="10273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A3D00-6EBC-285D-C24D-69D7E2189294}"/>
              </a:ext>
            </a:extLst>
          </p:cNvPr>
          <p:cNvSpPr txBox="1"/>
          <p:nvPr/>
        </p:nvSpPr>
        <p:spPr>
          <a:xfrm>
            <a:off x="8296653" y="828561"/>
            <a:ext cx="7784467" cy="1015644"/>
          </a:xfrm>
          <a:prstGeom prst="rect">
            <a:avLst/>
          </a:prstGeom>
          <a:noFill/>
        </p:spPr>
        <p:txBody>
          <a:bodyPr wrap="none" lIns="91422" tIns="45711" rIns="91422" bIns="45711" rtlCol="0" anchor="b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WHAT IS SELENIUM?</a:t>
            </a:r>
            <a:endParaRPr lang="id-ID" sz="6000" b="1" dirty="0">
              <a:solidFill>
                <a:schemeClr val="tx2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AD48C2C-A6A6-8F93-A079-E6F9EB413497}"/>
              </a:ext>
            </a:extLst>
          </p:cNvPr>
          <p:cNvSpPr/>
          <p:nvPr/>
        </p:nvSpPr>
        <p:spPr>
          <a:xfrm>
            <a:off x="11432898" y="2470667"/>
            <a:ext cx="1553038" cy="9143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9" tIns="45672" rIns="91339" bIns="45672" rtlCol="0" anchor="ctr"/>
          <a:lstStyle/>
          <a:p>
            <a:pPr algn="ctr"/>
            <a:endParaRPr lang="en-US">
              <a:solidFill>
                <a:schemeClr val="accent2"/>
              </a:solidFill>
              <a:latin typeface="Lato Light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116D3E04-E88F-800D-6EEE-A18F4CA0552F}"/>
              </a:ext>
            </a:extLst>
          </p:cNvPr>
          <p:cNvSpPr txBox="1">
            <a:spLocks/>
          </p:cNvSpPr>
          <p:nvPr/>
        </p:nvSpPr>
        <p:spPr>
          <a:xfrm>
            <a:off x="7049471" y="1634834"/>
            <a:ext cx="10320138" cy="733665"/>
          </a:xfrm>
          <a:prstGeom prst="rect">
            <a:avLst/>
          </a:prstGeom>
        </p:spPr>
        <p:txBody>
          <a:bodyPr vert="horz" wrap="non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100" dirty="0">
                <a:solidFill>
                  <a:schemeClr val="accent5"/>
                </a:solidFill>
                <a:latin typeface="Lato Light"/>
                <a:cs typeface="Lato Light"/>
              </a:rPr>
              <a:t>A powerful tool for automating web browser interactions</a:t>
            </a:r>
          </a:p>
        </p:txBody>
      </p:sp>
      <p:pic>
        <p:nvPicPr>
          <p:cNvPr id="6" name="Graphic 5" descr="Web design with solid fill">
            <a:extLst>
              <a:ext uri="{FF2B5EF4-FFF2-40B4-BE49-F238E27FC236}">
                <a16:creationId xmlns:a16="http://schemas.microsoft.com/office/drawing/2014/main" id="{227067E1-114F-F706-32E4-F1EF8E17AB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68495" y="4403126"/>
            <a:ext cx="640080" cy="640080"/>
          </a:xfrm>
          <a:prstGeom prst="rect">
            <a:avLst/>
          </a:prstGeom>
        </p:spPr>
      </p:pic>
      <p:pic>
        <p:nvPicPr>
          <p:cNvPr id="8" name="Graphic 7" descr="Ui Ux with solid fill">
            <a:extLst>
              <a:ext uri="{FF2B5EF4-FFF2-40B4-BE49-F238E27FC236}">
                <a16:creationId xmlns:a16="http://schemas.microsoft.com/office/drawing/2014/main" id="{09810C5E-B2DB-6EE0-7363-D195665C7A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65093" y="6918335"/>
            <a:ext cx="640080" cy="640080"/>
          </a:xfrm>
          <a:prstGeom prst="rect">
            <a:avLst/>
          </a:prstGeom>
        </p:spPr>
      </p:pic>
      <p:pic>
        <p:nvPicPr>
          <p:cNvPr id="16" name="Graphic 15" descr="Clipboard Mixed with solid fill">
            <a:extLst>
              <a:ext uri="{FF2B5EF4-FFF2-40B4-BE49-F238E27FC236}">
                <a16:creationId xmlns:a16="http://schemas.microsoft.com/office/drawing/2014/main" id="{272FE79E-EA51-BB99-DF06-69022D6240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245140" y="4409320"/>
            <a:ext cx="640080" cy="640080"/>
          </a:xfrm>
          <a:prstGeom prst="rect">
            <a:avLst/>
          </a:prstGeom>
        </p:spPr>
      </p:pic>
      <p:pic>
        <p:nvPicPr>
          <p:cNvPr id="24" name="Graphic 23" descr="Internet with solid fill">
            <a:extLst>
              <a:ext uri="{FF2B5EF4-FFF2-40B4-BE49-F238E27FC236}">
                <a16:creationId xmlns:a16="http://schemas.microsoft.com/office/drawing/2014/main" id="{1E867A82-487E-21B3-1042-42E14DD0D2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245140" y="6918335"/>
            <a:ext cx="640080" cy="640080"/>
          </a:xfrm>
          <a:prstGeom prst="rect">
            <a:avLst/>
          </a:prstGeom>
        </p:spPr>
      </p:pic>
      <p:pic>
        <p:nvPicPr>
          <p:cNvPr id="30" name="Graphic 29" descr="Completed with solid fill">
            <a:extLst>
              <a:ext uri="{FF2B5EF4-FFF2-40B4-BE49-F238E27FC236}">
                <a16:creationId xmlns:a16="http://schemas.microsoft.com/office/drawing/2014/main" id="{E1068804-A489-94D8-20F2-FAF85E43342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245140" y="9413840"/>
            <a:ext cx="640080" cy="640080"/>
          </a:xfrm>
          <a:prstGeom prst="rect">
            <a:avLst/>
          </a:prstGeom>
        </p:spPr>
      </p:pic>
      <p:pic>
        <p:nvPicPr>
          <p:cNvPr id="36" name="Graphic 35" descr="Glasses with solid fill">
            <a:extLst>
              <a:ext uri="{FF2B5EF4-FFF2-40B4-BE49-F238E27FC236}">
                <a16:creationId xmlns:a16="http://schemas.microsoft.com/office/drawing/2014/main" id="{54661A88-E0CD-D29E-1A8B-A252D552EEF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260532" y="9413840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35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94"/>
          <p:cNvSpPr>
            <a:spLocks/>
          </p:cNvSpPr>
          <p:nvPr/>
        </p:nvSpPr>
        <p:spPr bwMode="auto">
          <a:xfrm>
            <a:off x="6794758" y="12401937"/>
            <a:ext cx="1077378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algn="ctr" defTabSz="4572000"/>
            <a:r>
              <a:rPr lang="en-US" b="1">
                <a:solidFill>
                  <a:schemeClr val="bg1"/>
                </a:solidFill>
                <a:latin typeface="Lato Black" charset="0"/>
                <a:ea typeface="Lato Black" charset="0"/>
                <a:cs typeface="Lato Black" charset="0"/>
                <a:sym typeface="Bebas Neue" charset="0"/>
              </a:rPr>
              <a:t>4 out of 8 interviewees chose to remain anonymous 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42DC825-A394-E0F4-35C1-4F2D36F5F553}"/>
              </a:ext>
            </a:extLst>
          </p:cNvPr>
          <p:cNvSpPr txBox="1">
            <a:spLocks/>
          </p:cNvSpPr>
          <p:nvPr/>
        </p:nvSpPr>
        <p:spPr>
          <a:xfrm>
            <a:off x="4858520" y="4643734"/>
            <a:ext cx="4861941" cy="1808639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Track pricing, product availability, or promotional content on competitor websi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615125-BC07-5345-F2EE-9CD9795D06FB}"/>
              </a:ext>
            </a:extLst>
          </p:cNvPr>
          <p:cNvSpPr txBox="1"/>
          <p:nvPr/>
        </p:nvSpPr>
        <p:spPr>
          <a:xfrm>
            <a:off x="4858522" y="3859307"/>
            <a:ext cx="4861941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Lato Bold" charset="0"/>
                <a:ea typeface="Lato Bold" charset="0"/>
                <a:cs typeface="Lato Bold" charset="0"/>
              </a:rPr>
              <a:t>Competitor Monitoring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B0C1368-5CEC-E32B-7E5E-7EF436F0FA2F}"/>
              </a:ext>
            </a:extLst>
          </p:cNvPr>
          <p:cNvSpPr txBox="1">
            <a:spLocks/>
          </p:cNvSpPr>
          <p:nvPr/>
        </p:nvSpPr>
        <p:spPr>
          <a:xfrm>
            <a:off x="9717040" y="4643734"/>
            <a:ext cx="4861941" cy="1808639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Collect news headlines, press releases, or financial updates for trend analysi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D3606-2E1B-3419-11E4-EB19E0D85C27}"/>
              </a:ext>
            </a:extLst>
          </p:cNvPr>
          <p:cNvSpPr txBox="1"/>
          <p:nvPr/>
        </p:nvSpPr>
        <p:spPr>
          <a:xfrm>
            <a:off x="9717042" y="3859307"/>
            <a:ext cx="4861941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  <a:latin typeface="Lato Bold" charset="0"/>
                <a:ea typeface="Lato Bold" charset="0"/>
                <a:cs typeface="Lato Bold" charset="0"/>
              </a:rPr>
              <a:t>Market Intelligenc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BA3B280-090E-2631-EC76-CA4D9BB84E7D}"/>
              </a:ext>
            </a:extLst>
          </p:cNvPr>
          <p:cNvSpPr txBox="1">
            <a:spLocks/>
          </p:cNvSpPr>
          <p:nvPr/>
        </p:nvSpPr>
        <p:spPr>
          <a:xfrm>
            <a:off x="14653635" y="4641596"/>
            <a:ext cx="4861941" cy="1808639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Pull data from internal portals or public sites to feed into Excel reports or BI tool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C16C75-583A-D799-4655-87CBCDD6E6F0}"/>
              </a:ext>
            </a:extLst>
          </p:cNvPr>
          <p:cNvSpPr txBox="1"/>
          <p:nvPr/>
        </p:nvSpPr>
        <p:spPr>
          <a:xfrm>
            <a:off x="14653637" y="3857169"/>
            <a:ext cx="4861941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3"/>
                </a:solidFill>
                <a:latin typeface="Lato Bold" charset="0"/>
                <a:ea typeface="Lato Bold" charset="0"/>
                <a:cs typeface="Lato Bold" charset="0"/>
              </a:rPr>
              <a:t>Data Collection for Reports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770F3CA-BC1F-D296-3F22-B2D1801E152F}"/>
              </a:ext>
            </a:extLst>
          </p:cNvPr>
          <p:cNvSpPr txBox="1">
            <a:spLocks/>
          </p:cNvSpPr>
          <p:nvPr/>
        </p:nvSpPr>
        <p:spPr>
          <a:xfrm>
            <a:off x="19444161" y="4641596"/>
            <a:ext cx="4861941" cy="1808639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Extract contact info, social links, or company profiles from directories and websit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F05DD9-0B26-BF1B-C683-B563FBCFF51E}"/>
              </a:ext>
            </a:extLst>
          </p:cNvPr>
          <p:cNvSpPr txBox="1"/>
          <p:nvPr/>
        </p:nvSpPr>
        <p:spPr>
          <a:xfrm>
            <a:off x="19444163" y="3857169"/>
            <a:ext cx="4861941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4"/>
                </a:solidFill>
                <a:latin typeface="Lato Bold" charset="0"/>
                <a:ea typeface="Lato Bold" charset="0"/>
                <a:cs typeface="Lato Bold" charset="0"/>
              </a:rPr>
              <a:t>Lead Generation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D9A24940-EDB1-1714-559A-2DF79C9EB193}"/>
              </a:ext>
            </a:extLst>
          </p:cNvPr>
          <p:cNvSpPr txBox="1">
            <a:spLocks/>
          </p:cNvSpPr>
          <p:nvPr/>
        </p:nvSpPr>
        <p:spPr>
          <a:xfrm>
            <a:off x="0" y="4641596"/>
            <a:ext cx="4861941" cy="1808639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Scrape job listings across multiple pages to analyze roles, skills, and hiring tren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64AB52-ADFF-29DF-16B4-511CBF87DE8D}"/>
              </a:ext>
            </a:extLst>
          </p:cNvPr>
          <p:cNvSpPr txBox="1"/>
          <p:nvPr/>
        </p:nvSpPr>
        <p:spPr>
          <a:xfrm>
            <a:off x="-3396" y="3857169"/>
            <a:ext cx="486534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5"/>
                </a:solidFill>
                <a:latin typeface="Lato Bold" charset="0"/>
                <a:ea typeface="Lato Bold" charset="0"/>
                <a:cs typeface="Lato Bold" charset="0"/>
              </a:rPr>
              <a:t>Job Market Analysi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D20226-BAB6-8960-126F-DFDAC92DC824}"/>
              </a:ext>
            </a:extLst>
          </p:cNvPr>
          <p:cNvSpPr txBox="1"/>
          <p:nvPr/>
        </p:nvSpPr>
        <p:spPr>
          <a:xfrm>
            <a:off x="6634345" y="828561"/>
            <a:ext cx="11109095" cy="1015644"/>
          </a:xfrm>
          <a:prstGeom prst="rect">
            <a:avLst/>
          </a:prstGeom>
          <a:noFill/>
        </p:spPr>
        <p:txBody>
          <a:bodyPr wrap="none" lIns="91422" tIns="45711" rIns="91422" bIns="45711" rtlCol="0" anchor="b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REAL-WORLD APPLICATIONS</a:t>
            </a:r>
            <a:endParaRPr lang="id-ID" sz="6000" b="1" dirty="0">
              <a:solidFill>
                <a:schemeClr val="tx2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349E9A-4C16-3788-356E-132A163ADDB0}"/>
              </a:ext>
            </a:extLst>
          </p:cNvPr>
          <p:cNvSpPr/>
          <p:nvPr/>
        </p:nvSpPr>
        <p:spPr>
          <a:xfrm>
            <a:off x="11432898" y="2470667"/>
            <a:ext cx="1553038" cy="9143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9" tIns="45672" rIns="91339" bIns="45672" rtlCol="0" anchor="ctr"/>
          <a:lstStyle/>
          <a:p>
            <a:pPr algn="ctr"/>
            <a:endParaRPr lang="en-US">
              <a:solidFill>
                <a:schemeClr val="accent2"/>
              </a:solidFill>
              <a:latin typeface="Lato Light" charset="0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D7C8C50-5045-0E6E-DE8F-1174747FEE90}"/>
              </a:ext>
            </a:extLst>
          </p:cNvPr>
          <p:cNvSpPr txBox="1">
            <a:spLocks/>
          </p:cNvSpPr>
          <p:nvPr/>
        </p:nvSpPr>
        <p:spPr>
          <a:xfrm>
            <a:off x="7029435" y="1634834"/>
            <a:ext cx="10360213" cy="733665"/>
          </a:xfrm>
          <a:prstGeom prst="rect">
            <a:avLst/>
          </a:prstGeom>
        </p:spPr>
        <p:txBody>
          <a:bodyPr vert="horz" wrap="non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100" dirty="0">
                <a:solidFill>
                  <a:schemeClr val="accent5"/>
                </a:solidFill>
                <a:latin typeface="Lato Light"/>
                <a:cs typeface="Lato Light"/>
              </a:rPr>
              <a:t>How Selenium could be used in business and data science</a:t>
            </a:r>
          </a:p>
        </p:txBody>
      </p:sp>
      <p:pic>
        <p:nvPicPr>
          <p:cNvPr id="22" name="Picture Placeholder 21" descr="3D binders graphic">
            <a:extLst>
              <a:ext uri="{FF2B5EF4-FFF2-40B4-BE49-F238E27FC236}">
                <a16:creationId xmlns:a16="http://schemas.microsoft.com/office/drawing/2014/main" id="{35A0B0BC-ABF3-B93E-9B17-D25E075266D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0" t="26055" r="140" b="12633"/>
          <a:stretch/>
        </p:blipFill>
        <p:spPr>
          <a:xfrm>
            <a:off x="-3398" y="7609715"/>
            <a:ext cx="4861942" cy="4471451"/>
          </a:xfrm>
        </p:spPr>
      </p:pic>
      <p:pic>
        <p:nvPicPr>
          <p:cNvPr id="28" name="Picture Placeholder 27" descr="Yellow and blue tapes">
            <a:extLst>
              <a:ext uri="{FF2B5EF4-FFF2-40B4-BE49-F238E27FC236}">
                <a16:creationId xmlns:a16="http://schemas.microsoft.com/office/drawing/2014/main" id="{2EFBC803-B09F-35E2-9AAC-B93E35BA28B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36" r="13736"/>
          <a:stretch>
            <a:fillRect/>
          </a:stretch>
        </p:blipFill>
        <p:spPr>
          <a:xfrm>
            <a:off x="4858521" y="7609715"/>
            <a:ext cx="4861942" cy="4471451"/>
          </a:xfrm>
        </p:spPr>
      </p:pic>
      <p:pic>
        <p:nvPicPr>
          <p:cNvPr id="34" name="Picture Placeholder 33" descr="Hand placing stars">
            <a:extLst>
              <a:ext uri="{FF2B5EF4-FFF2-40B4-BE49-F238E27FC236}">
                <a16:creationId xmlns:a16="http://schemas.microsoft.com/office/drawing/2014/main" id="{7E57BC44-065F-A3B6-2AFF-18A9C306332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07" r="13707"/>
          <a:stretch>
            <a:fillRect/>
          </a:stretch>
        </p:blipFill>
        <p:spPr>
          <a:xfrm>
            <a:off x="9720463" y="7609715"/>
            <a:ext cx="4861942" cy="4471451"/>
          </a:xfrm>
        </p:spPr>
      </p:pic>
      <p:pic>
        <p:nvPicPr>
          <p:cNvPr id="38" name="Picture Placeholder 37" descr="3D pie chart graphic">
            <a:extLst>
              <a:ext uri="{FF2B5EF4-FFF2-40B4-BE49-F238E27FC236}">
                <a16:creationId xmlns:a16="http://schemas.microsoft.com/office/drawing/2014/main" id="{3C780A51-629B-DF18-AB37-66AFE30037B4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34" b="19334"/>
          <a:stretch>
            <a:fillRect/>
          </a:stretch>
        </p:blipFill>
        <p:spPr>
          <a:xfrm>
            <a:off x="14578981" y="7609715"/>
            <a:ext cx="4861942" cy="4471451"/>
          </a:xfrm>
        </p:spPr>
      </p:pic>
      <p:pic>
        <p:nvPicPr>
          <p:cNvPr id="46" name="Picture Placeholder 45" descr="Red dot with arrows pointing to it">
            <a:extLst>
              <a:ext uri="{FF2B5EF4-FFF2-40B4-BE49-F238E27FC236}">
                <a16:creationId xmlns:a16="http://schemas.microsoft.com/office/drawing/2014/main" id="{7F94A696-C4AF-FF90-7BC1-55DEA2D2F24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96" r="13196"/>
          <a:stretch>
            <a:fillRect/>
          </a:stretch>
        </p:blipFill>
        <p:spPr>
          <a:xfrm>
            <a:off x="19437499" y="7609715"/>
            <a:ext cx="4936754" cy="4471451"/>
          </a:xfrm>
        </p:spPr>
      </p:pic>
    </p:spTree>
    <p:extLst>
      <p:ext uri="{BB962C8B-B14F-4D97-AF65-F5344CB8AC3E}">
        <p14:creationId xmlns:p14="http://schemas.microsoft.com/office/powerpoint/2010/main" val="213630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48905" y="6713166"/>
            <a:ext cx="3580646" cy="1864865"/>
            <a:chOff x="3913901" y="5865040"/>
            <a:chExt cx="3322518" cy="1730427"/>
          </a:xfrm>
        </p:grpSpPr>
        <p:cxnSp>
          <p:nvCxnSpPr>
            <p:cNvPr id="49" name="直接连接符 84"/>
            <p:cNvCxnSpPr/>
            <p:nvPr/>
          </p:nvCxnSpPr>
          <p:spPr>
            <a:xfrm flipV="1">
              <a:off x="5664989" y="6731856"/>
              <a:ext cx="1571430" cy="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0" name="弧形 85"/>
            <p:cNvSpPr/>
            <p:nvPr/>
          </p:nvSpPr>
          <p:spPr>
            <a:xfrm rot="16200000">
              <a:off x="3913901" y="5865040"/>
              <a:ext cx="1730427" cy="1730428"/>
            </a:xfrm>
            <a:prstGeom prst="arc">
              <a:avLst>
                <a:gd name="adj1" fmla="val 2657162"/>
                <a:gd name="adj2" fmla="val 8176062"/>
              </a:avLst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solidFill>
                  <a:schemeClr val="lt1"/>
                </a:solidFill>
              </a:endParaRPr>
            </a:p>
          </p:txBody>
        </p:sp>
      </p:grpSp>
      <p:sp>
        <p:nvSpPr>
          <p:cNvPr id="82" name="Oval 81"/>
          <p:cNvSpPr/>
          <p:nvPr/>
        </p:nvSpPr>
        <p:spPr>
          <a:xfrm rot="21316916">
            <a:off x="3369713" y="6632704"/>
            <a:ext cx="1999231" cy="1999752"/>
          </a:xfrm>
          <a:prstGeom prst="ellipse">
            <a:avLst/>
          </a:prstGeom>
          <a:solidFill>
            <a:schemeClr val="accent5">
              <a:lumMod val="60000"/>
              <a:lumOff val="4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83" name="Oval 82"/>
          <p:cNvSpPr/>
          <p:nvPr/>
        </p:nvSpPr>
        <p:spPr>
          <a:xfrm rot="21316916">
            <a:off x="3531258" y="6794291"/>
            <a:ext cx="1676140" cy="167657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77" name="Oval 76"/>
          <p:cNvSpPr/>
          <p:nvPr/>
        </p:nvSpPr>
        <p:spPr>
          <a:xfrm rot="21316916">
            <a:off x="15101848" y="6633125"/>
            <a:ext cx="1999231" cy="1999752"/>
          </a:xfrm>
          <a:prstGeom prst="ellipse">
            <a:avLst/>
          </a:prstGeom>
          <a:solidFill>
            <a:schemeClr val="accent3">
              <a:lumMod val="60000"/>
              <a:lumOff val="4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78" name="Oval 77"/>
          <p:cNvSpPr/>
          <p:nvPr/>
        </p:nvSpPr>
        <p:spPr>
          <a:xfrm rot="21316916">
            <a:off x="15263393" y="6794712"/>
            <a:ext cx="1676140" cy="167657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64" name="Oval 63"/>
          <p:cNvSpPr/>
          <p:nvPr/>
        </p:nvSpPr>
        <p:spPr>
          <a:xfrm rot="21316916">
            <a:off x="11190138" y="6622840"/>
            <a:ext cx="1999231" cy="1999752"/>
          </a:xfrm>
          <a:prstGeom prst="ellipse">
            <a:avLst/>
          </a:prstGeom>
          <a:solidFill>
            <a:schemeClr val="accent2">
              <a:lumMod val="60000"/>
              <a:lumOff val="4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74" name="Oval 73"/>
          <p:cNvSpPr/>
          <p:nvPr/>
        </p:nvSpPr>
        <p:spPr>
          <a:xfrm rot="21316916">
            <a:off x="11351683" y="6784427"/>
            <a:ext cx="1676140" cy="167657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60" name="Oval 59"/>
          <p:cNvSpPr/>
          <p:nvPr/>
        </p:nvSpPr>
        <p:spPr>
          <a:xfrm rot="21316916">
            <a:off x="7268591" y="6616916"/>
            <a:ext cx="1999231" cy="1999752"/>
          </a:xfrm>
          <a:prstGeom prst="ellipse">
            <a:avLst/>
          </a:prstGeom>
          <a:solidFill>
            <a:schemeClr val="accent1">
              <a:lumMod val="60000"/>
              <a:lumOff val="4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61" name="Oval 60"/>
          <p:cNvSpPr/>
          <p:nvPr/>
        </p:nvSpPr>
        <p:spPr>
          <a:xfrm rot="21316916">
            <a:off x="7430136" y="6778503"/>
            <a:ext cx="1676140" cy="16765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grpSp>
        <p:nvGrpSpPr>
          <p:cNvPr id="84" name="Group 83"/>
          <p:cNvGrpSpPr/>
          <p:nvPr/>
        </p:nvGrpSpPr>
        <p:grpSpPr>
          <a:xfrm>
            <a:off x="11366502" y="6713166"/>
            <a:ext cx="3580646" cy="1864865"/>
            <a:chOff x="3913901" y="5865040"/>
            <a:chExt cx="3322518" cy="1730427"/>
          </a:xfrm>
        </p:grpSpPr>
        <p:cxnSp>
          <p:nvCxnSpPr>
            <p:cNvPr id="93" name="直接连接符 84"/>
            <p:cNvCxnSpPr/>
            <p:nvPr/>
          </p:nvCxnSpPr>
          <p:spPr>
            <a:xfrm flipV="1">
              <a:off x="5664989" y="6731856"/>
              <a:ext cx="1571430" cy="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1" name="弧形 85"/>
            <p:cNvSpPr/>
            <p:nvPr/>
          </p:nvSpPr>
          <p:spPr>
            <a:xfrm rot="16200000">
              <a:off x="3913901" y="5865040"/>
              <a:ext cx="1730427" cy="1730428"/>
            </a:xfrm>
            <a:prstGeom prst="arc">
              <a:avLst>
                <a:gd name="adj1" fmla="val 2657162"/>
                <a:gd name="adj2" fmla="val 8176062"/>
              </a:avLst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solidFill>
                  <a:schemeClr val="lt1"/>
                </a:solidFill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15278212" y="6713166"/>
            <a:ext cx="3580646" cy="1864865"/>
            <a:chOff x="3913901" y="5865040"/>
            <a:chExt cx="3322518" cy="1730427"/>
          </a:xfrm>
        </p:grpSpPr>
        <p:cxnSp>
          <p:nvCxnSpPr>
            <p:cNvPr id="103" name="直接连接符 84"/>
            <p:cNvCxnSpPr/>
            <p:nvPr/>
          </p:nvCxnSpPr>
          <p:spPr>
            <a:xfrm flipV="1">
              <a:off x="5664989" y="6731856"/>
              <a:ext cx="1571430" cy="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4" name="弧形 85"/>
            <p:cNvSpPr/>
            <p:nvPr/>
          </p:nvSpPr>
          <p:spPr>
            <a:xfrm rot="16200000">
              <a:off x="3913901" y="5865040"/>
              <a:ext cx="1730427" cy="1730428"/>
            </a:xfrm>
            <a:prstGeom prst="arc">
              <a:avLst>
                <a:gd name="adj1" fmla="val 2657162"/>
                <a:gd name="adj2" fmla="val 8176062"/>
              </a:avLst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solidFill>
                  <a:schemeClr val="lt1"/>
                </a:solidFill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3531985" y="6713166"/>
            <a:ext cx="3580646" cy="1864865"/>
            <a:chOff x="3913901" y="5865040"/>
            <a:chExt cx="3322518" cy="1730427"/>
          </a:xfrm>
        </p:grpSpPr>
        <p:cxnSp>
          <p:nvCxnSpPr>
            <p:cNvPr id="106" name="直接连接符 84"/>
            <p:cNvCxnSpPr/>
            <p:nvPr/>
          </p:nvCxnSpPr>
          <p:spPr>
            <a:xfrm flipV="1">
              <a:off x="5664989" y="6731856"/>
              <a:ext cx="1571430" cy="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07" name="弧形 85"/>
            <p:cNvSpPr/>
            <p:nvPr/>
          </p:nvSpPr>
          <p:spPr>
            <a:xfrm rot="16200000">
              <a:off x="3913901" y="5865040"/>
              <a:ext cx="1730427" cy="1730428"/>
            </a:xfrm>
            <a:prstGeom prst="arc">
              <a:avLst>
                <a:gd name="adj1" fmla="val 2657162"/>
                <a:gd name="adj2" fmla="val 8176062"/>
              </a:avLst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solidFill>
                  <a:schemeClr val="lt1"/>
                </a:solidFill>
              </a:endParaRPr>
            </a:p>
          </p:txBody>
        </p:sp>
      </p:grpSp>
      <p:sp>
        <p:nvSpPr>
          <p:cNvPr id="111" name="Oval 110"/>
          <p:cNvSpPr/>
          <p:nvPr/>
        </p:nvSpPr>
        <p:spPr>
          <a:xfrm rot="21316916">
            <a:off x="18925698" y="6632822"/>
            <a:ext cx="1999231" cy="1999752"/>
          </a:xfrm>
          <a:prstGeom prst="ellipse">
            <a:avLst/>
          </a:prstGeom>
          <a:solidFill>
            <a:schemeClr val="accent4">
              <a:lumMod val="60000"/>
              <a:lumOff val="4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112" name="Oval 111"/>
          <p:cNvSpPr/>
          <p:nvPr/>
        </p:nvSpPr>
        <p:spPr>
          <a:xfrm rot="21316916">
            <a:off x="19087243" y="6794409"/>
            <a:ext cx="1676140" cy="167657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bg-BG"/>
          </a:p>
        </p:txBody>
      </p:sp>
      <p:sp>
        <p:nvSpPr>
          <p:cNvPr id="69" name="Subtitle 2"/>
          <p:cNvSpPr txBox="1">
            <a:spLocks/>
          </p:cNvSpPr>
          <p:nvPr/>
        </p:nvSpPr>
        <p:spPr>
          <a:xfrm>
            <a:off x="6141052" y="3446573"/>
            <a:ext cx="4280522" cy="1695787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Use explicit waits to ensure key elements are present before interacting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939165" y="5470422"/>
            <a:ext cx="4684296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latin typeface="Lato Bold" charset="0"/>
                <a:ea typeface="Lato Bold" charset="0"/>
                <a:cs typeface="Lato Bold" charset="0"/>
              </a:rPr>
              <a:t>2. Wait for the Page to Load</a:t>
            </a:r>
          </a:p>
        </p:txBody>
      </p:sp>
      <p:sp>
        <p:nvSpPr>
          <p:cNvPr id="87" name="Subtitle 2"/>
          <p:cNvSpPr txBox="1">
            <a:spLocks/>
          </p:cNvSpPr>
          <p:nvPr/>
        </p:nvSpPr>
        <p:spPr>
          <a:xfrm>
            <a:off x="2197409" y="9894667"/>
            <a:ext cx="4280522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Set up the web driver and open the target website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2455913" y="9159011"/>
            <a:ext cx="3764172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5"/>
                </a:solidFill>
                <a:latin typeface="Lato Bold" charset="0"/>
                <a:ea typeface="Lato Bold" charset="0"/>
                <a:cs typeface="Lato Bold" charset="0"/>
              </a:rPr>
              <a:t>1. Launch the Browser</a:t>
            </a:r>
          </a:p>
        </p:txBody>
      </p:sp>
      <p:sp>
        <p:nvSpPr>
          <p:cNvPr id="89" name="Subtitle 2"/>
          <p:cNvSpPr txBox="1">
            <a:spLocks/>
          </p:cNvSpPr>
          <p:nvPr/>
        </p:nvSpPr>
        <p:spPr>
          <a:xfrm>
            <a:off x="10012604" y="9894667"/>
            <a:ext cx="4393626" cy="1695787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Find buttons, fields, and other elements, then simulate actions like clicking or typing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10073775" y="9159011"/>
            <a:ext cx="4272323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  <a:latin typeface="Lato Bold" charset="0"/>
                <a:ea typeface="Lato Bold" charset="0"/>
                <a:cs typeface="Lato Bold" charset="0"/>
              </a:rPr>
              <a:t>3. Interact With Elements</a:t>
            </a:r>
          </a:p>
        </p:txBody>
      </p:sp>
      <p:sp>
        <p:nvSpPr>
          <p:cNvPr id="91" name="Subtitle 2"/>
          <p:cNvSpPr txBox="1">
            <a:spLocks/>
          </p:cNvSpPr>
          <p:nvPr/>
        </p:nvSpPr>
        <p:spPr>
          <a:xfrm>
            <a:off x="17775696" y="9894667"/>
            <a:ext cx="4280522" cy="1695787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Export data to a file or database, then close the browser cleanly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18628911" y="9159011"/>
            <a:ext cx="2574743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4"/>
                </a:solidFill>
                <a:latin typeface="Lato Bold" charset="0"/>
                <a:ea typeface="Lato Bold" charset="0"/>
                <a:cs typeface="Lato Bold" charset="0"/>
              </a:rPr>
              <a:t>5. Save Resul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9D5AEE-1D06-9F9E-2920-398FCBD06AF1}"/>
              </a:ext>
            </a:extLst>
          </p:cNvPr>
          <p:cNvSpPr txBox="1">
            <a:spLocks/>
          </p:cNvSpPr>
          <p:nvPr/>
        </p:nvSpPr>
        <p:spPr>
          <a:xfrm>
            <a:off x="13982292" y="3446573"/>
            <a:ext cx="4280522" cy="1695787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Pull relevant text, links, or attributes and store them in lists or tab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D4D28F-4730-28BB-99BA-E9957EBDB5E8}"/>
              </a:ext>
            </a:extLst>
          </p:cNvPr>
          <p:cNvSpPr txBox="1"/>
          <p:nvPr/>
        </p:nvSpPr>
        <p:spPr>
          <a:xfrm>
            <a:off x="14023261" y="5465572"/>
            <a:ext cx="419858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2800" b="1" dirty="0">
                <a:solidFill>
                  <a:schemeClr val="accent3"/>
                </a:solidFill>
                <a:latin typeface="Lato Bold" charset="0"/>
                <a:ea typeface="Lato Bold" charset="0"/>
                <a:cs typeface="Lato Bold" charset="0"/>
              </a:rPr>
              <a:t>4. Extract and Store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3219E4-2537-35A7-9740-0015326F982C}"/>
              </a:ext>
            </a:extLst>
          </p:cNvPr>
          <p:cNvSpPr txBox="1"/>
          <p:nvPr/>
        </p:nvSpPr>
        <p:spPr>
          <a:xfrm>
            <a:off x="8090677" y="828561"/>
            <a:ext cx="8196439" cy="1015644"/>
          </a:xfrm>
          <a:prstGeom prst="rect">
            <a:avLst/>
          </a:prstGeom>
          <a:noFill/>
        </p:spPr>
        <p:txBody>
          <a:bodyPr wrap="none" lIns="91422" tIns="45711" rIns="91422" bIns="45711" rtlCol="0" anchor="b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TYPICAL WORKFLOW</a:t>
            </a:r>
            <a:endParaRPr lang="id-ID" sz="6000" b="1" dirty="0">
              <a:solidFill>
                <a:schemeClr val="tx2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F77B1F-6384-0620-1F14-831EC4A72A24}"/>
              </a:ext>
            </a:extLst>
          </p:cNvPr>
          <p:cNvSpPr/>
          <p:nvPr/>
        </p:nvSpPr>
        <p:spPr>
          <a:xfrm>
            <a:off x="11432898" y="2470667"/>
            <a:ext cx="1553038" cy="9143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9" tIns="45672" rIns="91339" bIns="45672" rtlCol="0" anchor="ctr"/>
          <a:lstStyle/>
          <a:p>
            <a:pPr algn="ctr"/>
            <a:endParaRPr lang="en-US">
              <a:solidFill>
                <a:schemeClr val="accent2"/>
              </a:solidFill>
              <a:latin typeface="Lato Light" charset="0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FEED686-7D10-75BF-D8E8-8B2B30ABF9A7}"/>
              </a:ext>
            </a:extLst>
          </p:cNvPr>
          <p:cNvSpPr txBox="1">
            <a:spLocks/>
          </p:cNvSpPr>
          <p:nvPr/>
        </p:nvSpPr>
        <p:spPr>
          <a:xfrm>
            <a:off x="6960506" y="1634834"/>
            <a:ext cx="10498072" cy="733665"/>
          </a:xfrm>
          <a:prstGeom prst="rect">
            <a:avLst/>
          </a:prstGeom>
        </p:spPr>
        <p:txBody>
          <a:bodyPr vert="horz" wrap="non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100" dirty="0">
                <a:solidFill>
                  <a:schemeClr val="accent5"/>
                </a:solidFill>
                <a:latin typeface="Lato Light"/>
                <a:cs typeface="Lato Light"/>
              </a:rPr>
              <a:t>Five key steps for automating browser tasks with Selenium</a:t>
            </a:r>
          </a:p>
        </p:txBody>
      </p:sp>
      <p:pic>
        <p:nvPicPr>
          <p:cNvPr id="19" name="Graphic 18" descr="Browser window with solid fill">
            <a:extLst>
              <a:ext uri="{FF2B5EF4-FFF2-40B4-BE49-F238E27FC236}">
                <a16:creationId xmlns:a16="http://schemas.microsoft.com/office/drawing/2014/main" id="{5D9CC505-FC4B-D5D6-B9DC-81143C903D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0688" y="7096959"/>
            <a:ext cx="1097280" cy="1097280"/>
          </a:xfrm>
          <a:prstGeom prst="rect">
            <a:avLst/>
          </a:prstGeom>
        </p:spPr>
      </p:pic>
      <p:pic>
        <p:nvPicPr>
          <p:cNvPr id="23" name="Graphic 22" descr="Hourglass Finished with solid fill">
            <a:extLst>
              <a:ext uri="{FF2B5EF4-FFF2-40B4-BE49-F238E27FC236}">
                <a16:creationId xmlns:a16="http://schemas.microsoft.com/office/drawing/2014/main" id="{2F6A35AB-89C0-CB11-FC8B-69FEAAA33A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36568" y="7096959"/>
            <a:ext cx="1097280" cy="1097280"/>
          </a:xfrm>
          <a:prstGeom prst="rect">
            <a:avLst/>
          </a:prstGeom>
        </p:spPr>
      </p:pic>
      <p:pic>
        <p:nvPicPr>
          <p:cNvPr id="25" name="Graphic 24" descr="Cursor with solid fill">
            <a:extLst>
              <a:ext uri="{FF2B5EF4-FFF2-40B4-BE49-F238E27FC236}">
                <a16:creationId xmlns:a16="http://schemas.microsoft.com/office/drawing/2014/main" id="{0ADC9F8C-37D5-FBF0-1BBD-AD90B952D7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40185" y="7096959"/>
            <a:ext cx="1097280" cy="1097280"/>
          </a:xfrm>
          <a:prstGeom prst="rect">
            <a:avLst/>
          </a:prstGeom>
        </p:spPr>
      </p:pic>
      <p:pic>
        <p:nvPicPr>
          <p:cNvPr id="27" name="Graphic 26" descr="Table with solid fill">
            <a:extLst>
              <a:ext uri="{FF2B5EF4-FFF2-40B4-BE49-F238E27FC236}">
                <a16:creationId xmlns:a16="http://schemas.microsoft.com/office/drawing/2014/main" id="{36171E20-CE80-B4C4-58BD-4F01A2FC12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573913" y="7096959"/>
            <a:ext cx="1097280" cy="1097280"/>
          </a:xfrm>
          <a:prstGeom prst="rect">
            <a:avLst/>
          </a:prstGeom>
        </p:spPr>
      </p:pic>
      <p:pic>
        <p:nvPicPr>
          <p:cNvPr id="29" name="Graphic 28" descr="Disk with solid fill">
            <a:extLst>
              <a:ext uri="{FF2B5EF4-FFF2-40B4-BE49-F238E27FC236}">
                <a16:creationId xmlns:a16="http://schemas.microsoft.com/office/drawing/2014/main" id="{9C6BBD44-7DC2-67A3-1153-89E12B4F05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367317" y="7096959"/>
            <a:ext cx="1097280" cy="109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97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oup 57">
            <a:extLst>
              <a:ext uri="{FF2B5EF4-FFF2-40B4-BE49-F238E27FC236}">
                <a16:creationId xmlns:a16="http://schemas.microsoft.com/office/drawing/2014/main" id="{8CE6F1FB-5FAC-3FEC-D392-4A62C9489DE7}"/>
              </a:ext>
            </a:extLst>
          </p:cNvPr>
          <p:cNvGrpSpPr/>
          <p:nvPr/>
        </p:nvGrpSpPr>
        <p:grpSpPr>
          <a:xfrm>
            <a:off x="1174237" y="2717570"/>
            <a:ext cx="22761584" cy="5706276"/>
            <a:chOff x="1006812" y="2717570"/>
            <a:chExt cx="22761584" cy="570627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81E6643-66CC-2205-E832-98695A72BE0A}"/>
                </a:ext>
              </a:extLst>
            </p:cNvPr>
            <p:cNvGrpSpPr/>
            <p:nvPr/>
          </p:nvGrpSpPr>
          <p:grpSpPr>
            <a:xfrm>
              <a:off x="1006812" y="2724120"/>
              <a:ext cx="10918086" cy="5699726"/>
              <a:chOff x="2060455" y="2725815"/>
              <a:chExt cx="10918086" cy="5699726"/>
            </a:xfrm>
          </p:grpSpPr>
          <p:sp>
            <p:nvSpPr>
              <p:cNvPr id="95" name="Parallelogram 94"/>
              <p:cNvSpPr/>
              <p:nvPr/>
            </p:nvSpPr>
            <p:spPr>
              <a:xfrm rot="6496464" flipV="1">
                <a:off x="4833315" y="1641843"/>
                <a:ext cx="4983580" cy="8583816"/>
              </a:xfrm>
              <a:prstGeom prst="parallelogram">
                <a:avLst>
                  <a:gd name="adj" fmla="val 58199"/>
                </a:avLst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Parallelogram 95"/>
              <p:cNvSpPr/>
              <p:nvPr/>
            </p:nvSpPr>
            <p:spPr>
              <a:xfrm rot="6519378" flipV="1">
                <a:off x="3867557" y="918713"/>
                <a:ext cx="5299419" cy="8913623"/>
              </a:xfrm>
              <a:prstGeom prst="parallelogram">
                <a:avLst>
                  <a:gd name="adj" fmla="val 58199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/>
              <p:cNvSpPr/>
              <p:nvPr/>
            </p:nvSpPr>
            <p:spPr>
              <a:xfrm>
                <a:off x="11416875" y="5152918"/>
                <a:ext cx="1561666" cy="156166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algn="ctr"/>
                <a:r>
                  <a:rPr lang="en-US" sz="6000" b="1">
                    <a:solidFill>
                      <a:schemeClr val="tx2">
                        <a:lumMod val="50000"/>
                      </a:schemeClr>
                    </a:solidFill>
                    <a:latin typeface="+mj-lt"/>
                    <a:ea typeface="Lato" charset="0"/>
                    <a:cs typeface="Lato" charset="0"/>
                  </a:rPr>
                  <a:t>1</a:t>
                </a:r>
              </a:p>
            </p:txBody>
          </p:sp>
          <p:sp>
            <p:nvSpPr>
              <p:cNvPr id="101" name="Rectangle 100"/>
              <p:cNvSpPr/>
              <p:nvPr/>
            </p:nvSpPr>
            <p:spPr>
              <a:xfrm>
                <a:off x="2724239" y="4544858"/>
                <a:ext cx="5822428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3200" b="1" dirty="0">
                    <a:solidFill>
                      <a:schemeClr val="bg1"/>
                    </a:solidFill>
                    <a:latin typeface="+mj-lt"/>
                    <a:ea typeface="Lato" charset="0"/>
                    <a:cs typeface="Lato" charset="0"/>
                  </a:rPr>
                  <a:t>Website Structure Can Change</a:t>
                </a:r>
              </a:p>
            </p:txBody>
          </p:sp>
          <p:sp>
            <p:nvSpPr>
              <p:cNvPr id="4" name="Subtitle 2">
                <a:extLst>
                  <a:ext uri="{FF2B5EF4-FFF2-40B4-BE49-F238E27FC236}">
                    <a16:creationId xmlns:a16="http://schemas.microsoft.com/office/drawing/2014/main" id="{871E7D12-DAEA-723C-A7EE-9E5042EDB57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0509" y="5048611"/>
                <a:ext cx="8346269" cy="1254641"/>
              </a:xfrm>
              <a:prstGeom prst="rect">
                <a:avLst/>
              </a:prstGeom>
            </p:spPr>
            <p:txBody>
              <a:bodyPr vert="horz" wrap="square" lIns="217490" tIns="108745" rIns="217490" bIns="108745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150000"/>
                  </a:lnSpc>
                  <a:spcAft>
                    <a:spcPts val="1200"/>
                  </a:spcAft>
                </a:pPr>
                <a:r>
                  <a:rPr lang="en-US" b="1" dirty="0">
                    <a:solidFill>
                      <a:schemeClr val="bg1"/>
                    </a:solidFill>
                    <a:latin typeface="Lato Light" charset="0"/>
                    <a:ea typeface="Lato Light" charset="0"/>
                    <a:cs typeface="Lato Light" charset="0"/>
                  </a:rPr>
                  <a:t>Scrapers may break if a site's layout, class names, or element structure is updated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200E2DC-9A37-09D3-441B-48072BF0C5F8}"/>
                </a:ext>
              </a:extLst>
            </p:cNvPr>
            <p:cNvGrpSpPr/>
            <p:nvPr/>
          </p:nvGrpSpPr>
          <p:grpSpPr>
            <a:xfrm>
              <a:off x="12850310" y="2717570"/>
              <a:ext cx="10918086" cy="5699726"/>
              <a:chOff x="2060455" y="2725815"/>
              <a:chExt cx="10918086" cy="5699726"/>
            </a:xfrm>
          </p:grpSpPr>
          <p:sp>
            <p:nvSpPr>
              <p:cNvPr id="22" name="Parallelogram 21">
                <a:extLst>
                  <a:ext uri="{FF2B5EF4-FFF2-40B4-BE49-F238E27FC236}">
                    <a16:creationId xmlns:a16="http://schemas.microsoft.com/office/drawing/2014/main" id="{5C1372D3-CEF3-A8CB-70E9-09657954273A}"/>
                  </a:ext>
                </a:extLst>
              </p:cNvPr>
              <p:cNvSpPr/>
              <p:nvPr/>
            </p:nvSpPr>
            <p:spPr>
              <a:xfrm rot="6506521" flipV="1">
                <a:off x="4833315" y="1641843"/>
                <a:ext cx="4983580" cy="8583816"/>
              </a:xfrm>
              <a:prstGeom prst="parallelogram">
                <a:avLst>
                  <a:gd name="adj" fmla="val 58199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Parallelogram 22">
                <a:extLst>
                  <a:ext uri="{FF2B5EF4-FFF2-40B4-BE49-F238E27FC236}">
                    <a16:creationId xmlns:a16="http://schemas.microsoft.com/office/drawing/2014/main" id="{FDEF1A01-ABED-E2E5-449B-BCAF813055D1}"/>
                  </a:ext>
                </a:extLst>
              </p:cNvPr>
              <p:cNvSpPr/>
              <p:nvPr/>
            </p:nvSpPr>
            <p:spPr>
              <a:xfrm rot="6540000" flipV="1">
                <a:off x="3867557" y="918713"/>
                <a:ext cx="5299419" cy="8913623"/>
              </a:xfrm>
              <a:prstGeom prst="parallelogram">
                <a:avLst>
                  <a:gd name="adj" fmla="val 5819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C205A86-48E8-8699-CEA7-D745408EF57F}"/>
                  </a:ext>
                </a:extLst>
              </p:cNvPr>
              <p:cNvSpPr/>
              <p:nvPr/>
            </p:nvSpPr>
            <p:spPr>
              <a:xfrm>
                <a:off x="11416875" y="5152918"/>
                <a:ext cx="1561666" cy="156166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algn="ctr"/>
                <a:r>
                  <a:rPr lang="en-US" sz="6000" b="1">
                    <a:solidFill>
                      <a:schemeClr val="tx2">
                        <a:lumMod val="50000"/>
                      </a:schemeClr>
                    </a:solidFill>
                    <a:latin typeface="+mj-lt"/>
                    <a:ea typeface="Lato" charset="0"/>
                    <a:cs typeface="Lato" charset="0"/>
                  </a:rPr>
                  <a:t>2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4E483BD-4830-B193-43F1-FC26ED860A57}"/>
                  </a:ext>
                </a:extLst>
              </p:cNvPr>
              <p:cNvSpPr/>
              <p:nvPr/>
            </p:nvSpPr>
            <p:spPr>
              <a:xfrm>
                <a:off x="2710390" y="4536962"/>
                <a:ext cx="6546123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3200" b="1" dirty="0">
                    <a:solidFill>
                      <a:schemeClr val="bg1"/>
                    </a:solidFill>
                    <a:latin typeface="+mj-lt"/>
                    <a:ea typeface="Lato" charset="0"/>
                    <a:cs typeface="Lato" charset="0"/>
                  </a:rPr>
                  <a:t>JavaScript and Dynamic Content</a:t>
                </a:r>
              </a:p>
            </p:txBody>
          </p:sp>
          <p:sp>
            <p:nvSpPr>
              <p:cNvPr id="29" name="Subtitle 2">
                <a:extLst>
                  <a:ext uri="{FF2B5EF4-FFF2-40B4-BE49-F238E27FC236}">
                    <a16:creationId xmlns:a16="http://schemas.microsoft.com/office/drawing/2014/main" id="{D07403D7-6BD7-308D-4D43-CEAAF2F644F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58236" y="5059041"/>
                <a:ext cx="8346269" cy="1254641"/>
              </a:xfrm>
              <a:prstGeom prst="rect">
                <a:avLst/>
              </a:prstGeom>
            </p:spPr>
            <p:txBody>
              <a:bodyPr vert="horz" wrap="square" lIns="217490" tIns="108745" rIns="217490" bIns="108745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150000"/>
                  </a:lnSpc>
                  <a:spcAft>
                    <a:spcPts val="1200"/>
                  </a:spcAft>
                </a:pPr>
                <a:r>
                  <a:rPr lang="en-US" b="1" dirty="0">
                    <a:solidFill>
                      <a:schemeClr val="bg1"/>
                    </a:solidFill>
                    <a:latin typeface="Lato Light" charset="0"/>
                    <a:ea typeface="Lato Light" charset="0"/>
                    <a:cs typeface="Lato Light" charset="0"/>
                  </a:rPr>
                  <a:t>Some data may only appear after interacting with the page or waiting for scripts to load</a:t>
                </a:r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61CEBCC-C713-70E4-0859-3A6024200559}"/>
              </a:ext>
            </a:extLst>
          </p:cNvPr>
          <p:cNvGrpSpPr/>
          <p:nvPr/>
        </p:nvGrpSpPr>
        <p:grpSpPr>
          <a:xfrm>
            <a:off x="1174237" y="6733977"/>
            <a:ext cx="22761584" cy="5706276"/>
            <a:chOff x="1006812" y="2717570"/>
            <a:chExt cx="22761584" cy="5706276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98362B3F-71EF-F589-B9E1-AE2B8F3F80B6}"/>
                </a:ext>
              </a:extLst>
            </p:cNvPr>
            <p:cNvGrpSpPr/>
            <p:nvPr/>
          </p:nvGrpSpPr>
          <p:grpSpPr>
            <a:xfrm>
              <a:off x="1006812" y="2724120"/>
              <a:ext cx="10918086" cy="5699726"/>
              <a:chOff x="2060455" y="2725815"/>
              <a:chExt cx="10918086" cy="5699726"/>
            </a:xfrm>
          </p:grpSpPr>
          <p:sp>
            <p:nvSpPr>
              <p:cNvPr id="67" name="Parallelogram 66">
                <a:extLst>
                  <a:ext uri="{FF2B5EF4-FFF2-40B4-BE49-F238E27FC236}">
                    <a16:creationId xmlns:a16="http://schemas.microsoft.com/office/drawing/2014/main" id="{C4039CE1-4813-C413-271A-AF31C5B123E5}"/>
                  </a:ext>
                </a:extLst>
              </p:cNvPr>
              <p:cNvSpPr/>
              <p:nvPr/>
            </p:nvSpPr>
            <p:spPr>
              <a:xfrm rot="6496464" flipV="1">
                <a:off x="4833315" y="1641843"/>
                <a:ext cx="4983580" cy="8583816"/>
              </a:xfrm>
              <a:prstGeom prst="parallelogram">
                <a:avLst>
                  <a:gd name="adj" fmla="val 58199"/>
                </a:avLst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Parallelogram 67">
                <a:extLst>
                  <a:ext uri="{FF2B5EF4-FFF2-40B4-BE49-F238E27FC236}">
                    <a16:creationId xmlns:a16="http://schemas.microsoft.com/office/drawing/2014/main" id="{13542D1A-62D7-E5C8-3ACE-71DE012DDA2B}"/>
                  </a:ext>
                </a:extLst>
              </p:cNvPr>
              <p:cNvSpPr/>
              <p:nvPr/>
            </p:nvSpPr>
            <p:spPr>
              <a:xfrm rot="6522889" flipV="1">
                <a:off x="3867557" y="918713"/>
                <a:ext cx="5299419" cy="8913623"/>
              </a:xfrm>
              <a:prstGeom prst="parallelogram">
                <a:avLst>
                  <a:gd name="adj" fmla="val 58199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D43A7077-1F23-30C2-3593-18CD4048B3DF}"/>
                  </a:ext>
                </a:extLst>
              </p:cNvPr>
              <p:cNvSpPr/>
              <p:nvPr/>
            </p:nvSpPr>
            <p:spPr>
              <a:xfrm>
                <a:off x="11416875" y="5152918"/>
                <a:ext cx="1561666" cy="156166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algn="ctr"/>
                <a:r>
                  <a:rPr lang="en-US" sz="6000" b="1" dirty="0">
                    <a:solidFill>
                      <a:schemeClr val="tx2">
                        <a:lumMod val="50000"/>
                      </a:schemeClr>
                    </a:solidFill>
                    <a:latin typeface="+mj-lt"/>
                    <a:ea typeface="Lato" charset="0"/>
                    <a:cs typeface="Lato" charset="0"/>
                  </a:rPr>
                  <a:t>3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ED310C15-AFA3-23F2-2657-0CBC4B483B76}"/>
                  </a:ext>
                </a:extLst>
              </p:cNvPr>
              <p:cNvSpPr/>
              <p:nvPr/>
            </p:nvSpPr>
            <p:spPr>
              <a:xfrm>
                <a:off x="2724239" y="4568143"/>
                <a:ext cx="6050054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3200" b="1" dirty="0">
                    <a:solidFill>
                      <a:schemeClr val="bg1"/>
                    </a:solidFill>
                    <a:latin typeface="+mj-lt"/>
                    <a:ea typeface="Lato" charset="0"/>
                    <a:cs typeface="Lato" charset="0"/>
                  </a:rPr>
                  <a:t>Rate Limiting and Bot Detection</a:t>
                </a:r>
              </a:p>
            </p:txBody>
          </p:sp>
          <p:sp>
            <p:nvSpPr>
              <p:cNvPr id="74" name="Subtitle 2">
                <a:extLst>
                  <a:ext uri="{FF2B5EF4-FFF2-40B4-BE49-F238E27FC236}">
                    <a16:creationId xmlns:a16="http://schemas.microsoft.com/office/drawing/2014/main" id="{43DEE9E0-3B5A-0037-1E75-0822664B66F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58236" y="5046657"/>
                <a:ext cx="8346269" cy="1254641"/>
              </a:xfrm>
              <a:prstGeom prst="rect">
                <a:avLst/>
              </a:prstGeom>
            </p:spPr>
            <p:txBody>
              <a:bodyPr vert="horz" wrap="square" lIns="217490" tIns="108745" rIns="217490" bIns="108745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150000"/>
                  </a:lnSpc>
                  <a:spcAft>
                    <a:spcPts val="1200"/>
                  </a:spcAft>
                </a:pPr>
                <a:r>
                  <a:rPr lang="en-US" b="1" dirty="0">
                    <a:solidFill>
                      <a:schemeClr val="bg1"/>
                    </a:solidFill>
                    <a:latin typeface="Lato Light" charset="0"/>
                    <a:ea typeface="Lato Light" charset="0"/>
                    <a:cs typeface="Lato Light" charset="0"/>
                  </a:rPr>
                  <a:t>Too many requests in a short time can trigger CAPTCHAs, bans, or other defenses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AB61988-FF1B-726B-13FD-2B06FAE28BAD}"/>
                </a:ext>
              </a:extLst>
            </p:cNvPr>
            <p:cNvGrpSpPr/>
            <p:nvPr/>
          </p:nvGrpSpPr>
          <p:grpSpPr>
            <a:xfrm>
              <a:off x="12850310" y="2717570"/>
              <a:ext cx="10918086" cy="5699726"/>
              <a:chOff x="2060455" y="2725815"/>
              <a:chExt cx="10918086" cy="5699726"/>
            </a:xfrm>
          </p:grpSpPr>
          <p:sp>
            <p:nvSpPr>
              <p:cNvPr id="62" name="Parallelogram 61">
                <a:extLst>
                  <a:ext uri="{FF2B5EF4-FFF2-40B4-BE49-F238E27FC236}">
                    <a16:creationId xmlns:a16="http://schemas.microsoft.com/office/drawing/2014/main" id="{2097189B-EAAB-7B18-1D95-62E9810E96D4}"/>
                  </a:ext>
                </a:extLst>
              </p:cNvPr>
              <p:cNvSpPr/>
              <p:nvPr/>
            </p:nvSpPr>
            <p:spPr>
              <a:xfrm rot="6506521" flipV="1">
                <a:off x="4833315" y="1641843"/>
                <a:ext cx="4983580" cy="8583816"/>
              </a:xfrm>
              <a:prstGeom prst="parallelogram">
                <a:avLst>
                  <a:gd name="adj" fmla="val 58199"/>
                </a:avLst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Parallelogram 62">
                <a:extLst>
                  <a:ext uri="{FF2B5EF4-FFF2-40B4-BE49-F238E27FC236}">
                    <a16:creationId xmlns:a16="http://schemas.microsoft.com/office/drawing/2014/main" id="{B39248EB-9B55-D6E6-F8D3-D7F672927FD3}"/>
                  </a:ext>
                </a:extLst>
              </p:cNvPr>
              <p:cNvSpPr/>
              <p:nvPr/>
            </p:nvSpPr>
            <p:spPr>
              <a:xfrm rot="6531786" flipV="1">
                <a:off x="3867557" y="918713"/>
                <a:ext cx="5299419" cy="8913623"/>
              </a:xfrm>
              <a:prstGeom prst="parallelogram">
                <a:avLst>
                  <a:gd name="adj" fmla="val 58199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8FA32154-921D-1565-20C1-9F586A6FD867}"/>
                  </a:ext>
                </a:extLst>
              </p:cNvPr>
              <p:cNvSpPr/>
              <p:nvPr/>
            </p:nvSpPr>
            <p:spPr>
              <a:xfrm>
                <a:off x="11416875" y="5152918"/>
                <a:ext cx="1561666" cy="156166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algn="ctr"/>
                <a:r>
                  <a:rPr lang="en-US" sz="6000" b="1">
                    <a:solidFill>
                      <a:schemeClr val="tx2">
                        <a:lumMod val="50000"/>
                      </a:schemeClr>
                    </a:solidFill>
                    <a:latin typeface="+mj-lt"/>
                    <a:ea typeface="Lato" charset="0"/>
                    <a:cs typeface="Lato" charset="0"/>
                  </a:rPr>
                  <a:t>4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C838D588-6777-D43C-383B-60086752E2BB}"/>
                  </a:ext>
                </a:extLst>
              </p:cNvPr>
              <p:cNvSpPr/>
              <p:nvPr/>
            </p:nvSpPr>
            <p:spPr>
              <a:xfrm>
                <a:off x="2710390" y="4565410"/>
                <a:ext cx="5412059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3200" b="1" dirty="0">
                    <a:solidFill>
                      <a:schemeClr val="bg1"/>
                    </a:solidFill>
                    <a:latin typeface="+mj-lt"/>
                    <a:ea typeface="Lato" charset="0"/>
                    <a:cs typeface="Lato" charset="0"/>
                  </a:rPr>
                  <a:t>Ethical and Legal Boundaries</a:t>
                </a:r>
              </a:p>
            </p:txBody>
          </p:sp>
          <p:sp>
            <p:nvSpPr>
              <p:cNvPr id="66" name="Subtitle 2">
                <a:extLst>
                  <a:ext uri="{FF2B5EF4-FFF2-40B4-BE49-F238E27FC236}">
                    <a16:creationId xmlns:a16="http://schemas.microsoft.com/office/drawing/2014/main" id="{85F55D16-DE15-A976-5943-D4A3326E919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58236" y="5008498"/>
                <a:ext cx="8346269" cy="1254641"/>
              </a:xfrm>
              <a:prstGeom prst="rect">
                <a:avLst/>
              </a:prstGeom>
            </p:spPr>
            <p:txBody>
              <a:bodyPr vert="horz" wrap="square" lIns="217490" tIns="108745" rIns="217490" bIns="108745" rtlCol="0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150000"/>
                  </a:lnSpc>
                  <a:spcAft>
                    <a:spcPts val="1200"/>
                  </a:spcAft>
                </a:pPr>
                <a:r>
                  <a:rPr lang="en-US" b="1" dirty="0">
                    <a:solidFill>
                      <a:schemeClr val="bg1"/>
                    </a:solidFill>
                    <a:latin typeface="Lato Light" charset="0"/>
                    <a:ea typeface="Lato Light" charset="0"/>
                    <a:cs typeface="Lato Light" charset="0"/>
                  </a:rPr>
                  <a:t>Always check the site's terms of use and avoid scraping private or copyrighted data</a:t>
                </a:r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37D4964-C376-74D7-FBFC-8194DC5C68E9}"/>
              </a:ext>
            </a:extLst>
          </p:cNvPr>
          <p:cNvSpPr txBox="1"/>
          <p:nvPr/>
        </p:nvSpPr>
        <p:spPr>
          <a:xfrm>
            <a:off x="5744690" y="828561"/>
            <a:ext cx="12888428" cy="1015644"/>
          </a:xfrm>
          <a:prstGeom prst="rect">
            <a:avLst/>
          </a:prstGeom>
          <a:noFill/>
        </p:spPr>
        <p:txBody>
          <a:bodyPr wrap="none" lIns="91422" tIns="45711" rIns="91422" bIns="45711" rtlCol="0" anchor="b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WEB SCRAPING CONSIDERATIONS</a:t>
            </a:r>
            <a:endParaRPr lang="id-ID" sz="6000" b="1" dirty="0">
              <a:solidFill>
                <a:schemeClr val="tx2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7C0257C-20ED-EEB0-B03F-9DA8DC510BF6}"/>
              </a:ext>
            </a:extLst>
          </p:cNvPr>
          <p:cNvSpPr/>
          <p:nvPr/>
        </p:nvSpPr>
        <p:spPr>
          <a:xfrm>
            <a:off x="11600323" y="2470667"/>
            <a:ext cx="1553038" cy="9143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9" tIns="45672" rIns="91339" bIns="45672" rtlCol="0" anchor="ctr"/>
          <a:lstStyle/>
          <a:p>
            <a:pPr algn="ctr"/>
            <a:endParaRPr lang="en-US">
              <a:solidFill>
                <a:schemeClr val="accent2"/>
              </a:solidFill>
              <a:latin typeface="Lato Light" charset="0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CE5C78E-F25C-926A-74FC-CE7B136AE314}"/>
              </a:ext>
            </a:extLst>
          </p:cNvPr>
          <p:cNvSpPr txBox="1">
            <a:spLocks/>
          </p:cNvSpPr>
          <p:nvPr/>
        </p:nvSpPr>
        <p:spPr>
          <a:xfrm>
            <a:off x="6960506" y="1634834"/>
            <a:ext cx="10498072" cy="733665"/>
          </a:xfrm>
          <a:prstGeom prst="rect">
            <a:avLst/>
          </a:prstGeom>
        </p:spPr>
        <p:txBody>
          <a:bodyPr vert="horz" wrap="non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100" dirty="0">
                <a:solidFill>
                  <a:schemeClr val="accent5"/>
                </a:solidFill>
                <a:latin typeface="Lato Light"/>
                <a:cs typeface="Lato Light"/>
              </a:rPr>
              <a:t>Technical, ethical, and practical challenges to keep in mind</a:t>
            </a:r>
          </a:p>
        </p:txBody>
      </p:sp>
    </p:spTree>
    <p:extLst>
      <p:ext uri="{BB962C8B-B14F-4D97-AF65-F5344CB8AC3E}">
        <p14:creationId xmlns:p14="http://schemas.microsoft.com/office/powerpoint/2010/main" val="167999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12193235" y="4343400"/>
            <a:ext cx="0" cy="9372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Hexagon 82"/>
          <p:cNvSpPr/>
          <p:nvPr/>
        </p:nvSpPr>
        <p:spPr>
          <a:xfrm rot="5400000">
            <a:off x="11617731" y="4064244"/>
            <a:ext cx="1147470" cy="989198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Subtitle 2"/>
          <p:cNvSpPr txBox="1">
            <a:spLocks/>
          </p:cNvSpPr>
          <p:nvPr/>
        </p:nvSpPr>
        <p:spPr>
          <a:xfrm>
            <a:off x="4141975" y="10161781"/>
            <a:ext cx="7098693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Automate logging into a website using a sample username and password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8977800" y="8983534"/>
            <a:ext cx="204735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  <a:latin typeface="Lato Black" charset="0"/>
                <a:ea typeface="Lato Black" charset="0"/>
                <a:cs typeface="Lato Black" charset="0"/>
              </a:rPr>
              <a:t>Use Case 2: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8440793" y="9557269"/>
            <a:ext cx="2584362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2800" b="1" dirty="0">
                <a:solidFill>
                  <a:schemeClr val="accent1"/>
                </a:solidFill>
                <a:latin typeface="Lato Black" charset="0"/>
                <a:ea typeface="Lato Black" charset="0"/>
                <a:cs typeface="Lato Black" charset="0"/>
              </a:rPr>
              <a:t>Account Login</a:t>
            </a:r>
          </a:p>
        </p:txBody>
      </p:sp>
      <p:sp>
        <p:nvSpPr>
          <p:cNvPr id="78" name="Subtitle 2"/>
          <p:cNvSpPr txBox="1">
            <a:spLocks/>
          </p:cNvSpPr>
          <p:nvPr/>
        </p:nvSpPr>
        <p:spPr>
          <a:xfrm>
            <a:off x="13062711" y="5475481"/>
            <a:ext cx="6899543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Capture a full-page screenshot of a website using Selenium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13180282" y="4297234"/>
            <a:ext cx="204735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Lato Black" charset="0"/>
                <a:ea typeface="Lato Black" charset="0"/>
                <a:cs typeface="Lato Black" charset="0"/>
              </a:rPr>
              <a:t>Use Case 1: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3180282" y="4870969"/>
            <a:ext cx="3150221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5"/>
                </a:solidFill>
                <a:latin typeface="Lato Black" charset="0"/>
                <a:ea typeface="Lato Black" charset="0"/>
                <a:cs typeface="Lato Black" charset="0"/>
              </a:rPr>
              <a:t>Simple Screenshot</a:t>
            </a:r>
          </a:p>
        </p:txBody>
      </p:sp>
      <p:sp>
        <p:nvSpPr>
          <p:cNvPr id="7" name="Hexagon 6"/>
          <p:cNvSpPr/>
          <p:nvPr/>
        </p:nvSpPr>
        <p:spPr>
          <a:xfrm rot="5400000">
            <a:off x="11617731" y="8703288"/>
            <a:ext cx="1147470" cy="989198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E23BF62-5784-02A7-2B0C-AAFEDD2E42A3}"/>
              </a:ext>
            </a:extLst>
          </p:cNvPr>
          <p:cNvSpPr txBox="1"/>
          <p:nvPr/>
        </p:nvSpPr>
        <p:spPr>
          <a:xfrm>
            <a:off x="10012686" y="828561"/>
            <a:ext cx="4352438" cy="1015644"/>
          </a:xfrm>
          <a:prstGeom prst="rect">
            <a:avLst/>
          </a:prstGeom>
          <a:noFill/>
        </p:spPr>
        <p:txBody>
          <a:bodyPr wrap="none" lIns="91422" tIns="45711" rIns="91422" bIns="45711" rtlCol="0" anchor="b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Lato" charset="0"/>
                <a:ea typeface="Lato" charset="0"/>
                <a:cs typeface="Lato" charset="0"/>
              </a:rPr>
              <a:t>LIVE DEMO</a:t>
            </a:r>
            <a:endParaRPr lang="id-ID" sz="6000" b="1" dirty="0">
              <a:solidFill>
                <a:schemeClr val="tx2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11B969-A9D0-BC50-7F08-8ADBC5340792}"/>
              </a:ext>
            </a:extLst>
          </p:cNvPr>
          <p:cNvSpPr/>
          <p:nvPr/>
        </p:nvSpPr>
        <p:spPr>
          <a:xfrm>
            <a:off x="11600323" y="2470667"/>
            <a:ext cx="1553038" cy="9143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9" tIns="45672" rIns="91339" bIns="45672" rtlCol="0" anchor="ctr"/>
          <a:lstStyle/>
          <a:p>
            <a:pPr algn="ctr"/>
            <a:endParaRPr lang="en-US">
              <a:solidFill>
                <a:schemeClr val="accent2"/>
              </a:solidFill>
              <a:latin typeface="Lato Light" charset="0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8406226-CEA6-5949-87D9-33F4B2F4A36E}"/>
              </a:ext>
            </a:extLst>
          </p:cNvPr>
          <p:cNvSpPr txBox="1">
            <a:spLocks/>
          </p:cNvSpPr>
          <p:nvPr/>
        </p:nvSpPr>
        <p:spPr>
          <a:xfrm>
            <a:off x="6194271" y="1634834"/>
            <a:ext cx="12030542" cy="733665"/>
          </a:xfrm>
          <a:prstGeom prst="rect">
            <a:avLst/>
          </a:prstGeom>
        </p:spPr>
        <p:txBody>
          <a:bodyPr vert="horz" wrap="non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100" dirty="0">
                <a:solidFill>
                  <a:schemeClr val="accent5"/>
                </a:solidFill>
                <a:latin typeface="Lato Light"/>
                <a:cs typeface="Lato Light"/>
              </a:rPr>
              <a:t>A walkthrough of 8 progressively more complex Selenium use cases</a:t>
            </a:r>
          </a:p>
        </p:txBody>
      </p:sp>
      <p:pic>
        <p:nvPicPr>
          <p:cNvPr id="10" name="Graphic 9" descr="Camera with solid fill">
            <a:extLst>
              <a:ext uri="{FF2B5EF4-FFF2-40B4-BE49-F238E27FC236}">
                <a16:creationId xmlns:a16="http://schemas.microsoft.com/office/drawing/2014/main" id="{5B3CA0E1-EA8E-2C1A-9F02-64209958C7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68785" y="4230889"/>
            <a:ext cx="640080" cy="640080"/>
          </a:xfrm>
          <a:prstGeom prst="rect">
            <a:avLst/>
          </a:prstGeom>
        </p:spPr>
      </p:pic>
      <p:pic>
        <p:nvPicPr>
          <p:cNvPr id="12" name="Graphic 11" descr="Lock with solid fill">
            <a:extLst>
              <a:ext uri="{FF2B5EF4-FFF2-40B4-BE49-F238E27FC236}">
                <a16:creationId xmlns:a16="http://schemas.microsoft.com/office/drawing/2014/main" id="{4435B7A6-55E2-CD77-AE21-4F303545DE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68785" y="886667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95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12205566" y="0"/>
            <a:ext cx="9971" cy="137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Hexagon 82"/>
          <p:cNvSpPr/>
          <p:nvPr/>
        </p:nvSpPr>
        <p:spPr>
          <a:xfrm rot="5400000">
            <a:off x="11640033" y="9824964"/>
            <a:ext cx="1147470" cy="989198"/>
          </a:xfrm>
          <a:prstGeom prst="hex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Subtitle 2"/>
          <p:cNvSpPr txBox="1">
            <a:spLocks/>
          </p:cNvSpPr>
          <p:nvPr/>
        </p:nvSpPr>
        <p:spPr>
          <a:xfrm>
            <a:off x="4164277" y="7014873"/>
            <a:ext cx="7098693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Extract headlines from NPR News using explicit waits and element locator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9000101" y="5836626"/>
            <a:ext cx="2047356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  <a:latin typeface="Lato Black" charset="0"/>
                <a:ea typeface="Lato Black" charset="0"/>
                <a:cs typeface="Lato Black" charset="0"/>
              </a:rPr>
              <a:t>Use Case 4: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7307331" y="6410361"/>
            <a:ext cx="3740126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2800" b="1" dirty="0">
                <a:solidFill>
                  <a:schemeClr val="accent3"/>
                </a:solidFill>
                <a:latin typeface="Lato Black" charset="0"/>
                <a:ea typeface="Lato Black" charset="0"/>
                <a:cs typeface="Lato Black" charset="0"/>
              </a:rPr>
              <a:t>Web Scraping – Basic</a:t>
            </a:r>
          </a:p>
        </p:txBody>
      </p:sp>
      <p:sp>
        <p:nvSpPr>
          <p:cNvPr id="78" name="Subtitle 2"/>
          <p:cNvSpPr txBox="1">
            <a:spLocks/>
          </p:cNvSpPr>
          <p:nvPr/>
        </p:nvSpPr>
        <p:spPr>
          <a:xfrm>
            <a:off x="13085013" y="11236201"/>
            <a:ext cx="7098693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Scrape product data and nutrition labels from OpenFoodFacts.org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13202584" y="10057954"/>
            <a:ext cx="204735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Lato Black" charset="0"/>
                <a:ea typeface="Lato Black" charset="0"/>
                <a:cs typeface="Lato Black" charset="0"/>
              </a:rPr>
              <a:t>Use Case 5: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3202584" y="10631689"/>
            <a:ext cx="4974439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4"/>
                </a:solidFill>
                <a:latin typeface="Lato Black" charset="0"/>
                <a:ea typeface="Lato Black" charset="0"/>
                <a:cs typeface="Lato Black" charset="0"/>
              </a:rPr>
              <a:t>Web Scraping – Intermediate</a:t>
            </a:r>
          </a:p>
        </p:txBody>
      </p:sp>
      <p:sp>
        <p:nvSpPr>
          <p:cNvPr id="7" name="Hexagon 6"/>
          <p:cNvSpPr/>
          <p:nvPr/>
        </p:nvSpPr>
        <p:spPr>
          <a:xfrm rot="5400000">
            <a:off x="11640033" y="5556380"/>
            <a:ext cx="1147470" cy="989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Hexagon 42"/>
          <p:cNvSpPr/>
          <p:nvPr/>
        </p:nvSpPr>
        <p:spPr>
          <a:xfrm rot="5400000">
            <a:off x="11640033" y="917336"/>
            <a:ext cx="1147470" cy="989198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Subtitle 2"/>
          <p:cNvSpPr txBox="1">
            <a:spLocks/>
          </p:cNvSpPr>
          <p:nvPr/>
        </p:nvSpPr>
        <p:spPr>
          <a:xfrm>
            <a:off x="13085013" y="2328573"/>
            <a:ext cx="7098693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Fill out a form with text fields, dropdowns, checkboxes, file upload, etc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3202584" y="1150326"/>
            <a:ext cx="204735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Lato Black" charset="0"/>
                <a:ea typeface="Lato Black" charset="0"/>
                <a:cs typeface="Lato Black" charset="0"/>
              </a:rPr>
              <a:t>Use Case 3: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3202584" y="1724061"/>
            <a:ext cx="1895071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2"/>
                </a:solidFill>
                <a:latin typeface="Lato Black" charset="0"/>
                <a:ea typeface="Lato Black" charset="0"/>
                <a:cs typeface="Lato Black" charset="0"/>
              </a:rPr>
              <a:t>Web Form</a:t>
            </a:r>
          </a:p>
        </p:txBody>
      </p:sp>
      <p:pic>
        <p:nvPicPr>
          <p:cNvPr id="8" name="Graphic 7" descr="Quill with solid fill">
            <a:extLst>
              <a:ext uri="{FF2B5EF4-FFF2-40B4-BE49-F238E27FC236}">
                <a16:creationId xmlns:a16="http://schemas.microsoft.com/office/drawing/2014/main" id="{BC1CAC9C-C245-4B44-EA47-7694E1B94D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85526" y="1091895"/>
            <a:ext cx="640080" cy="640080"/>
          </a:xfrm>
          <a:prstGeom prst="rect">
            <a:avLst/>
          </a:prstGeom>
        </p:spPr>
      </p:pic>
      <p:pic>
        <p:nvPicPr>
          <p:cNvPr id="10" name="Graphic 9" descr="Newspaper with solid fill">
            <a:extLst>
              <a:ext uri="{FF2B5EF4-FFF2-40B4-BE49-F238E27FC236}">
                <a16:creationId xmlns:a16="http://schemas.microsoft.com/office/drawing/2014/main" id="{CB49BCF2-1D5F-B030-90CE-C78D28EC9C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85526" y="5730939"/>
            <a:ext cx="640080" cy="640080"/>
          </a:xfrm>
          <a:prstGeom prst="rect">
            <a:avLst/>
          </a:prstGeom>
        </p:spPr>
      </p:pic>
      <p:pic>
        <p:nvPicPr>
          <p:cNvPr id="14" name="Graphic 13" descr="Lunch Box with solid fill">
            <a:extLst>
              <a:ext uri="{FF2B5EF4-FFF2-40B4-BE49-F238E27FC236}">
                <a16:creationId xmlns:a16="http://schemas.microsoft.com/office/drawing/2014/main" id="{B0907D5C-1FCF-1459-0925-3E412AA346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85526" y="9971387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7830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12205566" y="0"/>
            <a:ext cx="0" cy="103098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Hexagon 82"/>
          <p:cNvSpPr/>
          <p:nvPr/>
        </p:nvSpPr>
        <p:spPr>
          <a:xfrm rot="5400000">
            <a:off x="11640033" y="9824964"/>
            <a:ext cx="1147470" cy="989198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Subtitle 2"/>
          <p:cNvSpPr txBox="1">
            <a:spLocks/>
          </p:cNvSpPr>
          <p:nvPr/>
        </p:nvSpPr>
        <p:spPr>
          <a:xfrm>
            <a:off x="4164277" y="7014873"/>
            <a:ext cx="7098693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Extract job listings and descriptions from Indeed using multi-tab navigation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9000101" y="5836626"/>
            <a:ext cx="2047356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  <a:latin typeface="Lato Black" charset="0"/>
                <a:ea typeface="Lato Black" charset="0"/>
                <a:cs typeface="Lato Black" charset="0"/>
              </a:rPr>
              <a:t>Use Case 7: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6549110" y="6410361"/>
            <a:ext cx="4498347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2800" b="1" dirty="0">
                <a:solidFill>
                  <a:schemeClr val="accent5"/>
                </a:solidFill>
                <a:latin typeface="Lato Black" charset="0"/>
                <a:ea typeface="Lato Black" charset="0"/>
                <a:cs typeface="Lato Black" charset="0"/>
              </a:rPr>
              <a:t>Web Scraping – Advanced</a:t>
            </a:r>
          </a:p>
        </p:txBody>
      </p:sp>
      <p:sp>
        <p:nvSpPr>
          <p:cNvPr id="7" name="Hexagon 6"/>
          <p:cNvSpPr/>
          <p:nvPr/>
        </p:nvSpPr>
        <p:spPr>
          <a:xfrm rot="5400000">
            <a:off x="11640033" y="5556380"/>
            <a:ext cx="1147470" cy="989198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Hexagon 42"/>
          <p:cNvSpPr/>
          <p:nvPr/>
        </p:nvSpPr>
        <p:spPr>
          <a:xfrm rot="5400000">
            <a:off x="11640033" y="917336"/>
            <a:ext cx="1147470" cy="989198"/>
          </a:xfrm>
          <a:prstGeom prst="hexag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Subtitle 2"/>
          <p:cNvSpPr txBox="1">
            <a:spLocks/>
          </p:cNvSpPr>
          <p:nvPr/>
        </p:nvSpPr>
        <p:spPr>
          <a:xfrm>
            <a:off x="13085013" y="2328573"/>
            <a:ext cx="7098693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Automate scrolling and scrape all quotes from a dynamically loaded pag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3202584" y="1150326"/>
            <a:ext cx="204735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Lato Black" charset="0"/>
                <a:ea typeface="Lato Black" charset="0"/>
                <a:cs typeface="Lato Black" charset="0"/>
              </a:rPr>
              <a:t>Use Case 6: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3202584" y="1724061"/>
            <a:ext cx="8409674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6"/>
                </a:solidFill>
                <a:latin typeface="Lato Black" charset="0"/>
                <a:ea typeface="Lato Black" charset="0"/>
                <a:cs typeface="Lato Black" charset="0"/>
              </a:rPr>
              <a:t>Web Scraping – Intermediate with Infinite Scrolling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8D372E-F2E7-4AD1-5B34-E94BF5AD51F8}"/>
              </a:ext>
            </a:extLst>
          </p:cNvPr>
          <p:cNvSpPr txBox="1">
            <a:spLocks/>
          </p:cNvSpPr>
          <p:nvPr/>
        </p:nvSpPr>
        <p:spPr>
          <a:xfrm>
            <a:off x="13194764" y="11260009"/>
            <a:ext cx="7098693" cy="1182826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4040"/>
              </a:lnSpc>
            </a:pPr>
            <a:r>
              <a:rPr lang="en-US" dirty="0">
                <a:solidFill>
                  <a:schemeClr val="tx1"/>
                </a:solidFill>
                <a:latin typeface="Lato Light" charset="0"/>
                <a:ea typeface="Lato Light" charset="0"/>
                <a:cs typeface="Lato Light" charset="0"/>
              </a:rPr>
              <a:t>Scrape full articles from NPR, clean the text, and generate visualiza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EF5BC8-7E8B-32F7-19D7-DC0FAD4D997F}"/>
              </a:ext>
            </a:extLst>
          </p:cNvPr>
          <p:cNvSpPr txBox="1"/>
          <p:nvPr/>
        </p:nvSpPr>
        <p:spPr>
          <a:xfrm>
            <a:off x="13312335" y="10081762"/>
            <a:ext cx="204735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Lato Black" charset="0"/>
                <a:ea typeface="Lato Black" charset="0"/>
                <a:cs typeface="Lato Black" charset="0"/>
              </a:rPr>
              <a:t>Use Case 8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725509-DCC3-FB08-40A3-4FB15E0EED6D}"/>
              </a:ext>
            </a:extLst>
          </p:cNvPr>
          <p:cNvSpPr txBox="1"/>
          <p:nvPr/>
        </p:nvSpPr>
        <p:spPr>
          <a:xfrm>
            <a:off x="13312335" y="10655497"/>
            <a:ext cx="4123245" cy="5232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  <a:latin typeface="Lato Black" charset="0"/>
                <a:ea typeface="Lato Black" charset="0"/>
                <a:cs typeface="Lato Black" charset="0"/>
              </a:rPr>
              <a:t>End-to-End Automation</a:t>
            </a:r>
          </a:p>
        </p:txBody>
      </p:sp>
      <p:pic>
        <p:nvPicPr>
          <p:cNvPr id="8" name="Graphic 7" descr="Quotes with solid fill">
            <a:extLst>
              <a:ext uri="{FF2B5EF4-FFF2-40B4-BE49-F238E27FC236}">
                <a16:creationId xmlns:a16="http://schemas.microsoft.com/office/drawing/2014/main" id="{59EA265F-0C68-757C-BD51-6EA94A58DC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68275" y="1091895"/>
            <a:ext cx="640080" cy="640080"/>
          </a:xfrm>
          <a:prstGeom prst="rect">
            <a:avLst/>
          </a:prstGeom>
        </p:spPr>
      </p:pic>
      <p:pic>
        <p:nvPicPr>
          <p:cNvPr id="10" name="Graphic 9" descr="Briefcase with solid fill">
            <a:extLst>
              <a:ext uri="{FF2B5EF4-FFF2-40B4-BE49-F238E27FC236}">
                <a16:creationId xmlns:a16="http://schemas.microsoft.com/office/drawing/2014/main" id="{B78B01E6-3A8D-91CA-EE52-305C98F1EA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68275" y="5730939"/>
            <a:ext cx="640080" cy="640080"/>
          </a:xfrm>
          <a:prstGeom prst="rect">
            <a:avLst/>
          </a:prstGeom>
        </p:spPr>
      </p:pic>
      <p:pic>
        <p:nvPicPr>
          <p:cNvPr id="12" name="Graphic 11" descr="Workflow with solid fill">
            <a:extLst>
              <a:ext uri="{FF2B5EF4-FFF2-40B4-BE49-F238E27FC236}">
                <a16:creationId xmlns:a16="http://schemas.microsoft.com/office/drawing/2014/main" id="{B7EDC88A-A72B-908E-29E5-880F66881D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93728" y="9989820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91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Generosa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43AA8B"/>
      </a:accent1>
      <a:accent2>
        <a:srgbClr val="F8961E"/>
      </a:accent2>
      <a:accent3>
        <a:srgbClr val="277DA1"/>
      </a:accent3>
      <a:accent4>
        <a:srgbClr val="F94144"/>
      </a:accent4>
      <a:accent5>
        <a:srgbClr val="5E60CE"/>
      </a:accent5>
      <a:accent6>
        <a:srgbClr val="577590"/>
      </a:accent6>
      <a:hlink>
        <a:srgbClr val="277DA1"/>
      </a:hlink>
      <a:folHlink>
        <a:srgbClr val="577590"/>
      </a:folHlink>
    </a:clrScheme>
    <a:fontScheme name="Custom 1">
      <a:majorFont>
        <a:latin typeface="Lato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4aafde8-3130-4bf4-b082-dfec8af0022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DD2BE416B9F847AEE93BC1EE61F0D6" ma:contentTypeVersion="9" ma:contentTypeDescription="Create a new document." ma:contentTypeScope="" ma:versionID="5f36d1090bf881ab13655bfe9a62d3dd">
  <xsd:schema xmlns:xsd="http://www.w3.org/2001/XMLSchema" xmlns:xs="http://www.w3.org/2001/XMLSchema" xmlns:p="http://schemas.microsoft.com/office/2006/metadata/properties" xmlns:ns3="04aafde8-3130-4bf4-b082-dfec8af00229" xmlns:ns4="91ca6b6a-c15c-45db-b7cb-82d5348c6a95" targetNamespace="http://schemas.microsoft.com/office/2006/metadata/properties" ma:root="true" ma:fieldsID="fff99c3b508f97aa2664e4834a0156e8" ns3:_="" ns4:_="">
    <xsd:import namespace="04aafde8-3130-4bf4-b082-dfec8af00229"/>
    <xsd:import namespace="91ca6b6a-c15c-45db-b7cb-82d5348c6a95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aafde8-3130-4bf4-b082-dfec8af00229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ca6b6a-c15c-45db-b7cb-82d5348c6a9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434C6D9-FB3C-4AB7-BD56-F525E7AB9966}">
  <ds:schemaRefs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04aafde8-3130-4bf4-b082-dfec8af00229"/>
    <ds:schemaRef ds:uri="91ca6b6a-c15c-45db-b7cb-82d5348c6a95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6A91617-C1F5-41E4-8B1A-8791328244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7AC4ED9-3FD5-450D-85F8-4E69DC50DD75}">
  <ds:schemaRefs>
    <ds:schemaRef ds:uri="04aafde8-3130-4bf4-b082-dfec8af00229"/>
    <ds:schemaRef ds:uri="91ca6b6a-c15c-45db-b7cb-82d5348c6a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75</TotalTime>
  <Words>629</Words>
  <Application>Microsoft Office PowerPoint</Application>
  <PresentationFormat>Custom</PresentationFormat>
  <Paragraphs>89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Lato Bold</vt:lpstr>
      <vt:lpstr>Arial</vt:lpstr>
      <vt:lpstr>Lato</vt:lpstr>
      <vt:lpstr>Lato Black</vt:lpstr>
      <vt:lpstr>Lato Light</vt:lpstr>
      <vt:lpstr>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etfabrik</dc:creator>
  <cp:keywords/>
  <dc:description/>
  <cp:lastModifiedBy>Luke Tam</cp:lastModifiedBy>
  <cp:revision>3</cp:revision>
  <dcterms:created xsi:type="dcterms:W3CDTF">2014-11-12T21:47:38Z</dcterms:created>
  <dcterms:modified xsi:type="dcterms:W3CDTF">2025-04-02T03:26:1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DD2BE416B9F847AEE93BC1EE61F0D6</vt:lpwstr>
  </property>
</Properties>
</file>